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3"/>
  </p:notesMasterIdLst>
  <p:sldIdLst>
    <p:sldId id="256" r:id="rId2"/>
    <p:sldId id="275" r:id="rId3"/>
    <p:sldId id="258" r:id="rId4"/>
    <p:sldId id="280" r:id="rId5"/>
    <p:sldId id="270" r:id="rId6"/>
    <p:sldId id="304" r:id="rId7"/>
    <p:sldId id="271" r:id="rId8"/>
    <p:sldId id="289" r:id="rId9"/>
    <p:sldId id="305" r:id="rId10"/>
    <p:sldId id="306" r:id="rId11"/>
    <p:sldId id="307" r:id="rId12"/>
    <p:sldId id="272" r:id="rId13"/>
    <p:sldId id="308" r:id="rId14"/>
    <p:sldId id="273" r:id="rId15"/>
    <p:sldId id="309" r:id="rId16"/>
    <p:sldId id="310" r:id="rId17"/>
    <p:sldId id="311" r:id="rId18"/>
    <p:sldId id="312" r:id="rId19"/>
    <p:sldId id="313" r:id="rId20"/>
    <p:sldId id="314" r:id="rId21"/>
    <p:sldId id="261" r:id="rId22"/>
  </p:sldIdLst>
  <p:sldSz cx="12192000" cy="6858000"/>
  <p:notesSz cx="6858000" cy="9144000"/>
  <p:custDataLst>
    <p:tags r:id="rId2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0000"/>
    <a:srgbClr val="A40000"/>
    <a:srgbClr val="9E0000"/>
    <a:srgbClr val="C7450B"/>
    <a:srgbClr val="E24E0C"/>
    <a:srgbClr val="DC6140"/>
    <a:srgbClr val="E60000"/>
    <a:srgbClr val="C9670D"/>
    <a:srgbClr val="66B5C9"/>
    <a:srgbClr val="EDB1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DC43C53-FF88-44FA-89CF-498110CA5CA1}" v="129" dt="2018-05-15T03:09:33.971"/>
    <p1510:client id="{FCCC7EC5-F0CD-458A-B03E-0C0C813D430D}" v="5" dt="2018-05-15T07:18:32.68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84" d="100"/>
          <a:sy n="84" d="100"/>
        </p:scale>
        <p:origin x="96" y="134"/>
      </p:cViewPr>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2/2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grpSp>
        <p:nvGrpSpPr>
          <p:cNvPr id="9830" name="组合 9829"/>
          <p:cNvGrpSpPr/>
          <p:nvPr userDrawn="1"/>
        </p:nvGrpSpPr>
        <p:grpSpPr>
          <a:xfrm>
            <a:off x="1588" y="0"/>
            <a:ext cx="12190413" cy="6859588"/>
            <a:chOff x="1588" y="0"/>
            <a:chExt cx="12190413" cy="6859588"/>
          </a:xfrm>
        </p:grpSpPr>
        <p:sp>
          <p:nvSpPr>
            <p:cNvPr id="4" name="AutoShape 3"/>
            <p:cNvSpPr>
              <a:spLocks noChangeAspect="1" noChangeArrowheads="1" noTextEdit="1"/>
            </p:cNvSpPr>
            <p:nvPr userDrawn="1"/>
          </p:nvSpPr>
          <p:spPr bwMode="auto">
            <a:xfrm>
              <a:off x="1588" y="0"/>
              <a:ext cx="121888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 name="Rectangle 5"/>
            <p:cNvSpPr>
              <a:spLocks noChangeArrowheads="1"/>
            </p:cNvSpPr>
            <p:nvPr userDrawn="1"/>
          </p:nvSpPr>
          <p:spPr bwMode="auto">
            <a:xfrm>
              <a:off x="3176" y="1588"/>
              <a:ext cx="12188825" cy="68580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 name="Rectangle 6"/>
            <p:cNvSpPr>
              <a:spLocks noChangeArrowheads="1"/>
            </p:cNvSpPr>
            <p:nvPr userDrawn="1"/>
          </p:nvSpPr>
          <p:spPr bwMode="auto">
            <a:xfrm>
              <a:off x="3176" y="1588"/>
              <a:ext cx="121888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 name="Freeform 7"/>
            <p:cNvSpPr>
              <a:spLocks/>
            </p:cNvSpPr>
            <p:nvPr userDrawn="1"/>
          </p:nvSpPr>
          <p:spPr bwMode="auto">
            <a:xfrm>
              <a:off x="381001" y="238125"/>
              <a:ext cx="1985963" cy="1706563"/>
            </a:xfrm>
            <a:custGeom>
              <a:avLst/>
              <a:gdLst>
                <a:gd name="T0" fmla="*/ 1218 w 1251"/>
                <a:gd name="T1" fmla="*/ 1075 h 1075"/>
                <a:gd name="T2" fmla="*/ 537 w 1251"/>
                <a:gd name="T3" fmla="*/ 1075 h 1075"/>
                <a:gd name="T4" fmla="*/ 0 w 1251"/>
                <a:gd name="T5" fmla="*/ 537 h 1075"/>
                <a:gd name="T6" fmla="*/ 537 w 1251"/>
                <a:gd name="T7" fmla="*/ 0 h 1075"/>
                <a:gd name="T8" fmla="*/ 1199 w 1251"/>
                <a:gd name="T9" fmla="*/ 0 h 1075"/>
                <a:gd name="T10" fmla="*/ 1232 w 1251"/>
                <a:gd name="T11" fmla="*/ 33 h 1075"/>
                <a:gd name="T12" fmla="*/ 1199 w 1251"/>
                <a:gd name="T13" fmla="*/ 66 h 1075"/>
                <a:gd name="T14" fmla="*/ 537 w 1251"/>
                <a:gd name="T15" fmla="*/ 66 h 1075"/>
                <a:gd name="T16" fmla="*/ 65 w 1251"/>
                <a:gd name="T17" fmla="*/ 537 h 1075"/>
                <a:gd name="T18" fmla="*/ 537 w 1251"/>
                <a:gd name="T19" fmla="*/ 1009 h 1075"/>
                <a:gd name="T20" fmla="*/ 1218 w 1251"/>
                <a:gd name="T21" fmla="*/ 1009 h 1075"/>
                <a:gd name="T22" fmla="*/ 1251 w 1251"/>
                <a:gd name="T23" fmla="*/ 1042 h 1075"/>
                <a:gd name="T24" fmla="*/ 1218 w 1251"/>
                <a:gd name="T25" fmla="*/ 1075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1" h="1075">
                  <a:moveTo>
                    <a:pt x="1218" y="1075"/>
                  </a:moveTo>
                  <a:cubicBezTo>
                    <a:pt x="537" y="1075"/>
                    <a:pt x="537" y="1075"/>
                    <a:pt x="537" y="1075"/>
                  </a:cubicBezTo>
                  <a:cubicBezTo>
                    <a:pt x="241" y="1075"/>
                    <a:pt x="0" y="834"/>
                    <a:pt x="0" y="537"/>
                  </a:cubicBezTo>
                  <a:cubicBezTo>
                    <a:pt x="0" y="241"/>
                    <a:pt x="241" y="0"/>
                    <a:pt x="537" y="0"/>
                  </a:cubicBezTo>
                  <a:cubicBezTo>
                    <a:pt x="1199" y="0"/>
                    <a:pt x="1199" y="0"/>
                    <a:pt x="1199" y="0"/>
                  </a:cubicBezTo>
                  <a:cubicBezTo>
                    <a:pt x="1217" y="0"/>
                    <a:pt x="1232" y="15"/>
                    <a:pt x="1232" y="33"/>
                  </a:cubicBezTo>
                  <a:cubicBezTo>
                    <a:pt x="1232" y="51"/>
                    <a:pt x="1217" y="66"/>
                    <a:pt x="1199" y="66"/>
                  </a:cubicBezTo>
                  <a:cubicBezTo>
                    <a:pt x="537" y="66"/>
                    <a:pt x="537" y="66"/>
                    <a:pt x="537" y="66"/>
                  </a:cubicBezTo>
                  <a:cubicBezTo>
                    <a:pt x="277" y="66"/>
                    <a:pt x="65" y="277"/>
                    <a:pt x="65" y="537"/>
                  </a:cubicBezTo>
                  <a:cubicBezTo>
                    <a:pt x="65" y="797"/>
                    <a:pt x="277" y="1009"/>
                    <a:pt x="537" y="1009"/>
                  </a:cubicBezTo>
                  <a:cubicBezTo>
                    <a:pt x="1218" y="1009"/>
                    <a:pt x="1218" y="1009"/>
                    <a:pt x="1218" y="1009"/>
                  </a:cubicBezTo>
                  <a:cubicBezTo>
                    <a:pt x="1237" y="1009"/>
                    <a:pt x="1251" y="1024"/>
                    <a:pt x="1251" y="1042"/>
                  </a:cubicBezTo>
                  <a:cubicBezTo>
                    <a:pt x="1251" y="1060"/>
                    <a:pt x="1237" y="1075"/>
                    <a:pt x="1218" y="1075"/>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 name="Freeform 8"/>
            <p:cNvSpPr>
              <a:spLocks/>
            </p:cNvSpPr>
            <p:nvPr userDrawn="1"/>
          </p:nvSpPr>
          <p:spPr bwMode="auto">
            <a:xfrm>
              <a:off x="603251" y="427038"/>
              <a:ext cx="1541463" cy="1328738"/>
            </a:xfrm>
            <a:custGeom>
              <a:avLst/>
              <a:gdLst>
                <a:gd name="T0" fmla="*/ 938 w 971"/>
                <a:gd name="T1" fmla="*/ 837 h 837"/>
                <a:gd name="T2" fmla="*/ 418 w 971"/>
                <a:gd name="T3" fmla="*/ 837 h 837"/>
                <a:gd name="T4" fmla="*/ 0 w 971"/>
                <a:gd name="T5" fmla="*/ 418 h 837"/>
                <a:gd name="T6" fmla="*/ 418 w 971"/>
                <a:gd name="T7" fmla="*/ 0 h 837"/>
                <a:gd name="T8" fmla="*/ 923 w 971"/>
                <a:gd name="T9" fmla="*/ 0 h 837"/>
                <a:gd name="T10" fmla="*/ 956 w 971"/>
                <a:gd name="T11" fmla="*/ 33 h 837"/>
                <a:gd name="T12" fmla="*/ 923 w 971"/>
                <a:gd name="T13" fmla="*/ 66 h 837"/>
                <a:gd name="T14" fmla="*/ 418 w 971"/>
                <a:gd name="T15" fmla="*/ 66 h 837"/>
                <a:gd name="T16" fmla="*/ 65 w 971"/>
                <a:gd name="T17" fmla="*/ 418 h 837"/>
                <a:gd name="T18" fmla="*/ 418 w 971"/>
                <a:gd name="T19" fmla="*/ 771 h 837"/>
                <a:gd name="T20" fmla="*/ 938 w 971"/>
                <a:gd name="T21" fmla="*/ 771 h 837"/>
                <a:gd name="T22" fmla="*/ 971 w 971"/>
                <a:gd name="T23" fmla="*/ 804 h 837"/>
                <a:gd name="T24" fmla="*/ 938 w 971"/>
                <a:gd name="T25" fmla="*/ 837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837">
                  <a:moveTo>
                    <a:pt x="938" y="837"/>
                  </a:moveTo>
                  <a:cubicBezTo>
                    <a:pt x="418" y="837"/>
                    <a:pt x="418" y="837"/>
                    <a:pt x="418" y="837"/>
                  </a:cubicBezTo>
                  <a:cubicBezTo>
                    <a:pt x="187" y="837"/>
                    <a:pt x="0" y="649"/>
                    <a:pt x="0" y="418"/>
                  </a:cubicBezTo>
                  <a:cubicBezTo>
                    <a:pt x="0" y="188"/>
                    <a:pt x="187" y="0"/>
                    <a:pt x="418" y="0"/>
                  </a:cubicBezTo>
                  <a:cubicBezTo>
                    <a:pt x="923" y="0"/>
                    <a:pt x="923" y="0"/>
                    <a:pt x="923" y="0"/>
                  </a:cubicBezTo>
                  <a:cubicBezTo>
                    <a:pt x="942" y="0"/>
                    <a:pt x="956" y="15"/>
                    <a:pt x="956" y="33"/>
                  </a:cubicBezTo>
                  <a:cubicBezTo>
                    <a:pt x="956" y="51"/>
                    <a:pt x="942" y="66"/>
                    <a:pt x="923" y="66"/>
                  </a:cubicBezTo>
                  <a:cubicBezTo>
                    <a:pt x="418" y="66"/>
                    <a:pt x="418" y="66"/>
                    <a:pt x="418" y="66"/>
                  </a:cubicBezTo>
                  <a:cubicBezTo>
                    <a:pt x="223" y="66"/>
                    <a:pt x="65" y="224"/>
                    <a:pt x="65" y="418"/>
                  </a:cubicBezTo>
                  <a:cubicBezTo>
                    <a:pt x="65" y="613"/>
                    <a:pt x="223" y="771"/>
                    <a:pt x="418" y="771"/>
                  </a:cubicBezTo>
                  <a:cubicBezTo>
                    <a:pt x="938" y="771"/>
                    <a:pt x="938" y="771"/>
                    <a:pt x="938" y="771"/>
                  </a:cubicBezTo>
                  <a:cubicBezTo>
                    <a:pt x="957" y="771"/>
                    <a:pt x="971" y="786"/>
                    <a:pt x="971" y="804"/>
                  </a:cubicBezTo>
                  <a:cubicBezTo>
                    <a:pt x="971" y="822"/>
                    <a:pt x="957" y="837"/>
                    <a:pt x="938" y="837"/>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 name="Freeform 9"/>
            <p:cNvSpPr>
              <a:spLocks/>
            </p:cNvSpPr>
            <p:nvPr userDrawn="1"/>
          </p:nvSpPr>
          <p:spPr bwMode="auto">
            <a:xfrm>
              <a:off x="819151" y="611188"/>
              <a:ext cx="1109663" cy="960438"/>
            </a:xfrm>
            <a:custGeom>
              <a:avLst/>
              <a:gdLst>
                <a:gd name="T0" fmla="*/ 666 w 699"/>
                <a:gd name="T1" fmla="*/ 605 h 605"/>
                <a:gd name="T2" fmla="*/ 302 w 699"/>
                <a:gd name="T3" fmla="*/ 605 h 605"/>
                <a:gd name="T4" fmla="*/ 0 w 699"/>
                <a:gd name="T5" fmla="*/ 302 h 605"/>
                <a:gd name="T6" fmla="*/ 302 w 699"/>
                <a:gd name="T7" fmla="*/ 0 h 605"/>
                <a:gd name="T8" fmla="*/ 656 w 699"/>
                <a:gd name="T9" fmla="*/ 0 h 605"/>
                <a:gd name="T10" fmla="*/ 688 w 699"/>
                <a:gd name="T11" fmla="*/ 33 h 605"/>
                <a:gd name="T12" fmla="*/ 656 w 699"/>
                <a:gd name="T13" fmla="*/ 66 h 605"/>
                <a:gd name="T14" fmla="*/ 302 w 699"/>
                <a:gd name="T15" fmla="*/ 66 h 605"/>
                <a:gd name="T16" fmla="*/ 66 w 699"/>
                <a:gd name="T17" fmla="*/ 302 h 605"/>
                <a:gd name="T18" fmla="*/ 302 w 699"/>
                <a:gd name="T19" fmla="*/ 539 h 605"/>
                <a:gd name="T20" fmla="*/ 666 w 699"/>
                <a:gd name="T21" fmla="*/ 539 h 605"/>
                <a:gd name="T22" fmla="*/ 699 w 699"/>
                <a:gd name="T23" fmla="*/ 572 h 605"/>
                <a:gd name="T24" fmla="*/ 666 w 699"/>
                <a:gd name="T25" fmla="*/ 605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9" h="605">
                  <a:moveTo>
                    <a:pt x="666" y="605"/>
                  </a:moveTo>
                  <a:cubicBezTo>
                    <a:pt x="302" y="605"/>
                    <a:pt x="302" y="605"/>
                    <a:pt x="302" y="605"/>
                  </a:cubicBezTo>
                  <a:cubicBezTo>
                    <a:pt x="136" y="605"/>
                    <a:pt x="0" y="469"/>
                    <a:pt x="0" y="302"/>
                  </a:cubicBezTo>
                  <a:cubicBezTo>
                    <a:pt x="0" y="136"/>
                    <a:pt x="136" y="0"/>
                    <a:pt x="302" y="0"/>
                  </a:cubicBezTo>
                  <a:cubicBezTo>
                    <a:pt x="656" y="0"/>
                    <a:pt x="656" y="0"/>
                    <a:pt x="656" y="0"/>
                  </a:cubicBezTo>
                  <a:cubicBezTo>
                    <a:pt x="674" y="0"/>
                    <a:pt x="688" y="15"/>
                    <a:pt x="688" y="33"/>
                  </a:cubicBezTo>
                  <a:cubicBezTo>
                    <a:pt x="688" y="51"/>
                    <a:pt x="674" y="66"/>
                    <a:pt x="656" y="66"/>
                  </a:cubicBezTo>
                  <a:cubicBezTo>
                    <a:pt x="302" y="66"/>
                    <a:pt x="302" y="66"/>
                    <a:pt x="302" y="66"/>
                  </a:cubicBezTo>
                  <a:cubicBezTo>
                    <a:pt x="172" y="66"/>
                    <a:pt x="66" y="172"/>
                    <a:pt x="66" y="302"/>
                  </a:cubicBezTo>
                  <a:cubicBezTo>
                    <a:pt x="66" y="433"/>
                    <a:pt x="172" y="539"/>
                    <a:pt x="302" y="539"/>
                  </a:cubicBezTo>
                  <a:cubicBezTo>
                    <a:pt x="666" y="539"/>
                    <a:pt x="666" y="539"/>
                    <a:pt x="666" y="539"/>
                  </a:cubicBezTo>
                  <a:cubicBezTo>
                    <a:pt x="684" y="539"/>
                    <a:pt x="699" y="554"/>
                    <a:pt x="699" y="572"/>
                  </a:cubicBezTo>
                  <a:cubicBezTo>
                    <a:pt x="699" y="590"/>
                    <a:pt x="684" y="605"/>
                    <a:pt x="666" y="605"/>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 name="Freeform 10"/>
            <p:cNvSpPr>
              <a:spLocks/>
            </p:cNvSpPr>
            <p:nvPr userDrawn="1"/>
          </p:nvSpPr>
          <p:spPr bwMode="auto">
            <a:xfrm>
              <a:off x="9631363" y="4630738"/>
              <a:ext cx="2387600" cy="2051050"/>
            </a:xfrm>
            <a:custGeom>
              <a:avLst/>
              <a:gdLst>
                <a:gd name="T0" fmla="*/ 859 w 1505"/>
                <a:gd name="T1" fmla="*/ 1292 h 1292"/>
                <a:gd name="T2" fmla="*/ 39 w 1505"/>
                <a:gd name="T3" fmla="*/ 1292 h 1292"/>
                <a:gd name="T4" fmla="*/ 0 w 1505"/>
                <a:gd name="T5" fmla="*/ 1253 h 1292"/>
                <a:gd name="T6" fmla="*/ 39 w 1505"/>
                <a:gd name="T7" fmla="*/ 1213 h 1292"/>
                <a:gd name="T8" fmla="*/ 859 w 1505"/>
                <a:gd name="T9" fmla="*/ 1213 h 1292"/>
                <a:gd name="T10" fmla="*/ 1426 w 1505"/>
                <a:gd name="T11" fmla="*/ 646 h 1292"/>
                <a:gd name="T12" fmla="*/ 859 w 1505"/>
                <a:gd name="T13" fmla="*/ 79 h 1292"/>
                <a:gd name="T14" fmla="*/ 63 w 1505"/>
                <a:gd name="T15" fmla="*/ 79 h 1292"/>
                <a:gd name="T16" fmla="*/ 23 w 1505"/>
                <a:gd name="T17" fmla="*/ 40 h 1292"/>
                <a:gd name="T18" fmla="*/ 63 w 1505"/>
                <a:gd name="T19" fmla="*/ 0 h 1292"/>
                <a:gd name="T20" fmla="*/ 859 w 1505"/>
                <a:gd name="T21" fmla="*/ 0 h 1292"/>
                <a:gd name="T22" fmla="*/ 1505 w 1505"/>
                <a:gd name="T23" fmla="*/ 646 h 1292"/>
                <a:gd name="T24" fmla="*/ 859 w 1505"/>
                <a:gd name="T25" fmla="*/ 1292 h 1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5" h="1292">
                  <a:moveTo>
                    <a:pt x="859" y="1292"/>
                  </a:moveTo>
                  <a:cubicBezTo>
                    <a:pt x="39" y="1292"/>
                    <a:pt x="39" y="1292"/>
                    <a:pt x="39" y="1292"/>
                  </a:cubicBezTo>
                  <a:cubicBezTo>
                    <a:pt x="18" y="1292"/>
                    <a:pt x="0" y="1274"/>
                    <a:pt x="0" y="1253"/>
                  </a:cubicBezTo>
                  <a:cubicBezTo>
                    <a:pt x="0" y="1231"/>
                    <a:pt x="18" y="1213"/>
                    <a:pt x="39" y="1213"/>
                  </a:cubicBezTo>
                  <a:cubicBezTo>
                    <a:pt x="859" y="1213"/>
                    <a:pt x="859" y="1213"/>
                    <a:pt x="859" y="1213"/>
                  </a:cubicBezTo>
                  <a:cubicBezTo>
                    <a:pt x="1171" y="1213"/>
                    <a:pt x="1426" y="959"/>
                    <a:pt x="1426" y="646"/>
                  </a:cubicBezTo>
                  <a:cubicBezTo>
                    <a:pt x="1426" y="333"/>
                    <a:pt x="1171" y="79"/>
                    <a:pt x="859" y="79"/>
                  </a:cubicBezTo>
                  <a:cubicBezTo>
                    <a:pt x="63" y="79"/>
                    <a:pt x="63" y="79"/>
                    <a:pt x="63" y="79"/>
                  </a:cubicBezTo>
                  <a:cubicBezTo>
                    <a:pt x="41" y="79"/>
                    <a:pt x="23" y="61"/>
                    <a:pt x="23" y="40"/>
                  </a:cubicBezTo>
                  <a:cubicBezTo>
                    <a:pt x="23" y="18"/>
                    <a:pt x="41" y="0"/>
                    <a:pt x="63" y="0"/>
                  </a:cubicBezTo>
                  <a:cubicBezTo>
                    <a:pt x="859" y="0"/>
                    <a:pt x="859" y="0"/>
                    <a:pt x="859" y="0"/>
                  </a:cubicBezTo>
                  <a:cubicBezTo>
                    <a:pt x="1215" y="0"/>
                    <a:pt x="1505" y="290"/>
                    <a:pt x="1505" y="646"/>
                  </a:cubicBezTo>
                  <a:cubicBezTo>
                    <a:pt x="1505" y="1002"/>
                    <a:pt x="1215" y="1292"/>
                    <a:pt x="859" y="1292"/>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 name="Freeform 11"/>
            <p:cNvSpPr>
              <a:spLocks/>
            </p:cNvSpPr>
            <p:nvPr userDrawn="1"/>
          </p:nvSpPr>
          <p:spPr bwMode="auto">
            <a:xfrm>
              <a:off x="9896476" y="4857750"/>
              <a:ext cx="1854200" cy="1597025"/>
            </a:xfrm>
            <a:custGeom>
              <a:avLst/>
              <a:gdLst>
                <a:gd name="T0" fmla="*/ 665 w 1168"/>
                <a:gd name="T1" fmla="*/ 1006 h 1006"/>
                <a:gd name="T2" fmla="*/ 40 w 1168"/>
                <a:gd name="T3" fmla="*/ 1006 h 1006"/>
                <a:gd name="T4" fmla="*/ 0 w 1168"/>
                <a:gd name="T5" fmla="*/ 966 h 1006"/>
                <a:gd name="T6" fmla="*/ 40 w 1168"/>
                <a:gd name="T7" fmla="*/ 927 h 1006"/>
                <a:gd name="T8" fmla="*/ 665 w 1168"/>
                <a:gd name="T9" fmla="*/ 927 h 1006"/>
                <a:gd name="T10" fmla="*/ 1089 w 1168"/>
                <a:gd name="T11" fmla="*/ 503 h 1006"/>
                <a:gd name="T12" fmla="*/ 665 w 1168"/>
                <a:gd name="T13" fmla="*/ 79 h 1006"/>
                <a:gd name="T14" fmla="*/ 58 w 1168"/>
                <a:gd name="T15" fmla="*/ 79 h 1006"/>
                <a:gd name="T16" fmla="*/ 18 w 1168"/>
                <a:gd name="T17" fmla="*/ 40 h 1006"/>
                <a:gd name="T18" fmla="*/ 58 w 1168"/>
                <a:gd name="T19" fmla="*/ 0 h 1006"/>
                <a:gd name="T20" fmla="*/ 665 w 1168"/>
                <a:gd name="T21" fmla="*/ 0 h 1006"/>
                <a:gd name="T22" fmla="*/ 1168 w 1168"/>
                <a:gd name="T23" fmla="*/ 503 h 1006"/>
                <a:gd name="T24" fmla="*/ 665 w 1168"/>
                <a:gd name="T25" fmla="*/ 1006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8" h="1006">
                  <a:moveTo>
                    <a:pt x="665" y="1006"/>
                  </a:moveTo>
                  <a:cubicBezTo>
                    <a:pt x="40" y="1006"/>
                    <a:pt x="40" y="1006"/>
                    <a:pt x="40" y="1006"/>
                  </a:cubicBezTo>
                  <a:cubicBezTo>
                    <a:pt x="18" y="1006"/>
                    <a:pt x="0" y="988"/>
                    <a:pt x="0" y="966"/>
                  </a:cubicBezTo>
                  <a:cubicBezTo>
                    <a:pt x="0" y="945"/>
                    <a:pt x="18" y="927"/>
                    <a:pt x="40" y="927"/>
                  </a:cubicBezTo>
                  <a:cubicBezTo>
                    <a:pt x="665" y="927"/>
                    <a:pt x="665" y="927"/>
                    <a:pt x="665" y="927"/>
                  </a:cubicBezTo>
                  <a:cubicBezTo>
                    <a:pt x="899" y="927"/>
                    <a:pt x="1089" y="737"/>
                    <a:pt x="1089" y="503"/>
                  </a:cubicBezTo>
                  <a:cubicBezTo>
                    <a:pt x="1089" y="269"/>
                    <a:pt x="899" y="79"/>
                    <a:pt x="665" y="79"/>
                  </a:cubicBezTo>
                  <a:cubicBezTo>
                    <a:pt x="58" y="79"/>
                    <a:pt x="58" y="79"/>
                    <a:pt x="58" y="79"/>
                  </a:cubicBezTo>
                  <a:cubicBezTo>
                    <a:pt x="36" y="79"/>
                    <a:pt x="18" y="61"/>
                    <a:pt x="18" y="40"/>
                  </a:cubicBezTo>
                  <a:cubicBezTo>
                    <a:pt x="18" y="18"/>
                    <a:pt x="36" y="0"/>
                    <a:pt x="58" y="0"/>
                  </a:cubicBezTo>
                  <a:cubicBezTo>
                    <a:pt x="665" y="0"/>
                    <a:pt x="665" y="0"/>
                    <a:pt x="665" y="0"/>
                  </a:cubicBezTo>
                  <a:cubicBezTo>
                    <a:pt x="943" y="0"/>
                    <a:pt x="1168" y="226"/>
                    <a:pt x="1168" y="503"/>
                  </a:cubicBezTo>
                  <a:cubicBezTo>
                    <a:pt x="1168" y="780"/>
                    <a:pt x="943" y="1006"/>
                    <a:pt x="665" y="1006"/>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12"/>
            <p:cNvSpPr>
              <a:spLocks/>
            </p:cNvSpPr>
            <p:nvPr userDrawn="1"/>
          </p:nvSpPr>
          <p:spPr bwMode="auto">
            <a:xfrm>
              <a:off x="10156826" y="5080000"/>
              <a:ext cx="1333500" cy="1152525"/>
            </a:xfrm>
            <a:custGeom>
              <a:avLst/>
              <a:gdLst>
                <a:gd name="T0" fmla="*/ 477 w 840"/>
                <a:gd name="T1" fmla="*/ 726 h 726"/>
                <a:gd name="T2" fmla="*/ 40 w 840"/>
                <a:gd name="T3" fmla="*/ 726 h 726"/>
                <a:gd name="T4" fmla="*/ 0 w 840"/>
                <a:gd name="T5" fmla="*/ 687 h 726"/>
                <a:gd name="T6" fmla="*/ 40 w 840"/>
                <a:gd name="T7" fmla="*/ 647 h 726"/>
                <a:gd name="T8" fmla="*/ 477 w 840"/>
                <a:gd name="T9" fmla="*/ 647 h 726"/>
                <a:gd name="T10" fmla="*/ 761 w 840"/>
                <a:gd name="T11" fmla="*/ 363 h 726"/>
                <a:gd name="T12" fmla="*/ 477 w 840"/>
                <a:gd name="T13" fmla="*/ 79 h 726"/>
                <a:gd name="T14" fmla="*/ 52 w 840"/>
                <a:gd name="T15" fmla="*/ 79 h 726"/>
                <a:gd name="T16" fmla="*/ 13 w 840"/>
                <a:gd name="T17" fmla="*/ 39 h 726"/>
                <a:gd name="T18" fmla="*/ 52 w 840"/>
                <a:gd name="T19" fmla="*/ 0 h 726"/>
                <a:gd name="T20" fmla="*/ 477 w 840"/>
                <a:gd name="T21" fmla="*/ 0 h 726"/>
                <a:gd name="T22" fmla="*/ 840 w 840"/>
                <a:gd name="T23" fmla="*/ 363 h 726"/>
                <a:gd name="T24" fmla="*/ 477 w 840"/>
                <a:gd name="T25" fmla="*/ 726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0" h="726">
                  <a:moveTo>
                    <a:pt x="477" y="726"/>
                  </a:moveTo>
                  <a:cubicBezTo>
                    <a:pt x="40" y="726"/>
                    <a:pt x="40" y="726"/>
                    <a:pt x="40" y="726"/>
                  </a:cubicBezTo>
                  <a:cubicBezTo>
                    <a:pt x="18" y="726"/>
                    <a:pt x="0" y="709"/>
                    <a:pt x="0" y="687"/>
                  </a:cubicBezTo>
                  <a:cubicBezTo>
                    <a:pt x="0" y="665"/>
                    <a:pt x="18" y="647"/>
                    <a:pt x="40" y="647"/>
                  </a:cubicBezTo>
                  <a:cubicBezTo>
                    <a:pt x="477" y="647"/>
                    <a:pt x="477" y="647"/>
                    <a:pt x="477" y="647"/>
                  </a:cubicBezTo>
                  <a:cubicBezTo>
                    <a:pt x="634" y="647"/>
                    <a:pt x="761" y="520"/>
                    <a:pt x="761" y="363"/>
                  </a:cubicBezTo>
                  <a:cubicBezTo>
                    <a:pt x="761" y="206"/>
                    <a:pt x="634" y="79"/>
                    <a:pt x="477" y="79"/>
                  </a:cubicBezTo>
                  <a:cubicBezTo>
                    <a:pt x="52" y="79"/>
                    <a:pt x="52" y="79"/>
                    <a:pt x="52" y="79"/>
                  </a:cubicBezTo>
                  <a:cubicBezTo>
                    <a:pt x="30" y="79"/>
                    <a:pt x="13" y="61"/>
                    <a:pt x="13" y="39"/>
                  </a:cubicBezTo>
                  <a:cubicBezTo>
                    <a:pt x="13" y="17"/>
                    <a:pt x="30" y="0"/>
                    <a:pt x="52" y="0"/>
                  </a:cubicBezTo>
                  <a:cubicBezTo>
                    <a:pt x="477" y="0"/>
                    <a:pt x="477" y="0"/>
                    <a:pt x="477" y="0"/>
                  </a:cubicBezTo>
                  <a:cubicBezTo>
                    <a:pt x="677" y="0"/>
                    <a:pt x="840" y="163"/>
                    <a:pt x="840" y="363"/>
                  </a:cubicBezTo>
                  <a:cubicBezTo>
                    <a:pt x="840" y="563"/>
                    <a:pt x="677" y="726"/>
                    <a:pt x="477" y="726"/>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 name="Rectangle 22"/>
            <p:cNvSpPr>
              <a:spLocks noChangeArrowheads="1"/>
            </p:cNvSpPr>
            <p:nvPr userDrawn="1"/>
          </p:nvSpPr>
          <p:spPr bwMode="auto">
            <a:xfrm>
              <a:off x="1012826" y="973138"/>
              <a:ext cx="10169525" cy="4914900"/>
            </a:xfrm>
            <a:prstGeom prst="rect">
              <a:avLst/>
            </a:prstGeom>
            <a:solidFill>
              <a:schemeClr val="bg1"/>
            </a:solidFill>
            <a:ln>
              <a:noFill/>
            </a:ln>
            <a:effectLst>
              <a:outerShdw blurRad="304800" dist="50800" dir="5400000" algn="ctr" rotWithShape="0">
                <a:schemeClr val="tx1">
                  <a:alpha val="32000"/>
                </a:scheme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16" name="Rectangle 23"/>
            <p:cNvSpPr>
              <a:spLocks noChangeArrowheads="1"/>
            </p:cNvSpPr>
            <p:nvPr userDrawn="1"/>
          </p:nvSpPr>
          <p:spPr bwMode="auto">
            <a:xfrm>
              <a:off x="5951538" y="973138"/>
              <a:ext cx="5230813" cy="49149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 name="Freeform 24"/>
            <p:cNvSpPr>
              <a:spLocks/>
            </p:cNvSpPr>
            <p:nvPr userDrawn="1"/>
          </p:nvSpPr>
          <p:spPr bwMode="auto">
            <a:xfrm>
              <a:off x="8990013" y="3757613"/>
              <a:ext cx="1985963" cy="1704975"/>
            </a:xfrm>
            <a:custGeom>
              <a:avLst/>
              <a:gdLst>
                <a:gd name="T0" fmla="*/ 714 w 1252"/>
                <a:gd name="T1" fmla="*/ 1074 h 1074"/>
                <a:gd name="T2" fmla="*/ 33 w 1252"/>
                <a:gd name="T3" fmla="*/ 1074 h 1074"/>
                <a:gd name="T4" fmla="*/ 0 w 1252"/>
                <a:gd name="T5" fmla="*/ 1042 h 1074"/>
                <a:gd name="T6" fmla="*/ 33 w 1252"/>
                <a:gd name="T7" fmla="*/ 1009 h 1074"/>
                <a:gd name="T8" fmla="*/ 714 w 1252"/>
                <a:gd name="T9" fmla="*/ 1009 h 1074"/>
                <a:gd name="T10" fmla="*/ 1186 w 1252"/>
                <a:gd name="T11" fmla="*/ 537 h 1074"/>
                <a:gd name="T12" fmla="*/ 714 w 1252"/>
                <a:gd name="T13" fmla="*/ 65 h 1074"/>
                <a:gd name="T14" fmla="*/ 52 w 1252"/>
                <a:gd name="T15" fmla="*/ 65 h 1074"/>
                <a:gd name="T16" fmla="*/ 19 w 1252"/>
                <a:gd name="T17" fmla="*/ 32 h 1074"/>
                <a:gd name="T18" fmla="*/ 52 w 1252"/>
                <a:gd name="T19" fmla="*/ 0 h 1074"/>
                <a:gd name="T20" fmla="*/ 714 w 1252"/>
                <a:gd name="T21" fmla="*/ 0 h 1074"/>
                <a:gd name="T22" fmla="*/ 1252 w 1252"/>
                <a:gd name="T23" fmla="*/ 537 h 1074"/>
                <a:gd name="T24" fmla="*/ 714 w 1252"/>
                <a:gd name="T25" fmla="*/ 107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2" h="1074">
                  <a:moveTo>
                    <a:pt x="714" y="1074"/>
                  </a:moveTo>
                  <a:cubicBezTo>
                    <a:pt x="33" y="1074"/>
                    <a:pt x="33" y="1074"/>
                    <a:pt x="33" y="1074"/>
                  </a:cubicBezTo>
                  <a:cubicBezTo>
                    <a:pt x="15" y="1074"/>
                    <a:pt x="0" y="1060"/>
                    <a:pt x="0" y="1042"/>
                  </a:cubicBezTo>
                  <a:cubicBezTo>
                    <a:pt x="0" y="1023"/>
                    <a:pt x="15" y="1009"/>
                    <a:pt x="33" y="1009"/>
                  </a:cubicBezTo>
                  <a:cubicBezTo>
                    <a:pt x="714" y="1009"/>
                    <a:pt x="714" y="1009"/>
                    <a:pt x="714" y="1009"/>
                  </a:cubicBezTo>
                  <a:cubicBezTo>
                    <a:pt x="974" y="1009"/>
                    <a:pt x="1186" y="797"/>
                    <a:pt x="1186" y="537"/>
                  </a:cubicBezTo>
                  <a:cubicBezTo>
                    <a:pt x="1186" y="277"/>
                    <a:pt x="974" y="65"/>
                    <a:pt x="714" y="65"/>
                  </a:cubicBezTo>
                  <a:cubicBezTo>
                    <a:pt x="52" y="65"/>
                    <a:pt x="52" y="65"/>
                    <a:pt x="52" y="65"/>
                  </a:cubicBezTo>
                  <a:cubicBezTo>
                    <a:pt x="34" y="65"/>
                    <a:pt x="19" y="51"/>
                    <a:pt x="19" y="32"/>
                  </a:cubicBezTo>
                  <a:cubicBezTo>
                    <a:pt x="19" y="14"/>
                    <a:pt x="34" y="0"/>
                    <a:pt x="52" y="0"/>
                  </a:cubicBezTo>
                  <a:cubicBezTo>
                    <a:pt x="714" y="0"/>
                    <a:pt x="714" y="0"/>
                    <a:pt x="714" y="0"/>
                  </a:cubicBezTo>
                  <a:cubicBezTo>
                    <a:pt x="1010" y="0"/>
                    <a:pt x="1252" y="241"/>
                    <a:pt x="1252" y="537"/>
                  </a:cubicBezTo>
                  <a:cubicBezTo>
                    <a:pt x="1252" y="833"/>
                    <a:pt x="1010" y="1074"/>
                    <a:pt x="714" y="107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8" name="Freeform 25"/>
            <p:cNvSpPr>
              <a:spLocks/>
            </p:cNvSpPr>
            <p:nvPr userDrawn="1"/>
          </p:nvSpPr>
          <p:spPr bwMode="auto">
            <a:xfrm>
              <a:off x="9212263" y="3946525"/>
              <a:ext cx="1541463" cy="1327150"/>
            </a:xfrm>
            <a:custGeom>
              <a:avLst/>
              <a:gdLst>
                <a:gd name="T0" fmla="*/ 553 w 972"/>
                <a:gd name="T1" fmla="*/ 836 h 836"/>
                <a:gd name="T2" fmla="*/ 33 w 972"/>
                <a:gd name="T3" fmla="*/ 836 h 836"/>
                <a:gd name="T4" fmla="*/ 0 w 972"/>
                <a:gd name="T5" fmla="*/ 803 h 836"/>
                <a:gd name="T6" fmla="*/ 33 w 972"/>
                <a:gd name="T7" fmla="*/ 771 h 836"/>
                <a:gd name="T8" fmla="*/ 553 w 972"/>
                <a:gd name="T9" fmla="*/ 771 h 836"/>
                <a:gd name="T10" fmla="*/ 906 w 972"/>
                <a:gd name="T11" fmla="*/ 418 h 836"/>
                <a:gd name="T12" fmla="*/ 553 w 972"/>
                <a:gd name="T13" fmla="*/ 65 h 836"/>
                <a:gd name="T14" fmla="*/ 48 w 972"/>
                <a:gd name="T15" fmla="*/ 65 h 836"/>
                <a:gd name="T16" fmla="*/ 15 w 972"/>
                <a:gd name="T17" fmla="*/ 33 h 836"/>
                <a:gd name="T18" fmla="*/ 48 w 972"/>
                <a:gd name="T19" fmla="*/ 0 h 836"/>
                <a:gd name="T20" fmla="*/ 553 w 972"/>
                <a:gd name="T21" fmla="*/ 0 h 836"/>
                <a:gd name="T22" fmla="*/ 972 w 972"/>
                <a:gd name="T23" fmla="*/ 418 h 836"/>
                <a:gd name="T24" fmla="*/ 553 w 972"/>
                <a:gd name="T25" fmla="*/ 8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2" h="836">
                  <a:moveTo>
                    <a:pt x="553" y="836"/>
                  </a:moveTo>
                  <a:cubicBezTo>
                    <a:pt x="33" y="836"/>
                    <a:pt x="33" y="836"/>
                    <a:pt x="33" y="836"/>
                  </a:cubicBezTo>
                  <a:cubicBezTo>
                    <a:pt x="14" y="836"/>
                    <a:pt x="0" y="822"/>
                    <a:pt x="0" y="803"/>
                  </a:cubicBezTo>
                  <a:cubicBezTo>
                    <a:pt x="0" y="785"/>
                    <a:pt x="14" y="771"/>
                    <a:pt x="33" y="771"/>
                  </a:cubicBezTo>
                  <a:cubicBezTo>
                    <a:pt x="553" y="771"/>
                    <a:pt x="553" y="771"/>
                    <a:pt x="553" y="771"/>
                  </a:cubicBezTo>
                  <a:cubicBezTo>
                    <a:pt x="748" y="771"/>
                    <a:pt x="906" y="612"/>
                    <a:pt x="906" y="418"/>
                  </a:cubicBezTo>
                  <a:cubicBezTo>
                    <a:pt x="906" y="224"/>
                    <a:pt x="748" y="65"/>
                    <a:pt x="553" y="65"/>
                  </a:cubicBezTo>
                  <a:cubicBezTo>
                    <a:pt x="48" y="65"/>
                    <a:pt x="48" y="65"/>
                    <a:pt x="48" y="65"/>
                  </a:cubicBezTo>
                  <a:cubicBezTo>
                    <a:pt x="29" y="65"/>
                    <a:pt x="15" y="51"/>
                    <a:pt x="15" y="33"/>
                  </a:cubicBezTo>
                  <a:cubicBezTo>
                    <a:pt x="15" y="14"/>
                    <a:pt x="29" y="0"/>
                    <a:pt x="48" y="0"/>
                  </a:cubicBezTo>
                  <a:cubicBezTo>
                    <a:pt x="553" y="0"/>
                    <a:pt x="553" y="0"/>
                    <a:pt x="553" y="0"/>
                  </a:cubicBezTo>
                  <a:cubicBezTo>
                    <a:pt x="784" y="0"/>
                    <a:pt x="972" y="187"/>
                    <a:pt x="972" y="418"/>
                  </a:cubicBezTo>
                  <a:cubicBezTo>
                    <a:pt x="972" y="649"/>
                    <a:pt x="784" y="836"/>
                    <a:pt x="553" y="8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9" name="Freeform 26"/>
            <p:cNvSpPr>
              <a:spLocks/>
            </p:cNvSpPr>
            <p:nvPr userDrawn="1"/>
          </p:nvSpPr>
          <p:spPr bwMode="auto">
            <a:xfrm>
              <a:off x="9428163" y="4130675"/>
              <a:ext cx="1108075" cy="958850"/>
            </a:xfrm>
            <a:custGeom>
              <a:avLst/>
              <a:gdLst>
                <a:gd name="T0" fmla="*/ 397 w 699"/>
                <a:gd name="T1" fmla="*/ 604 h 604"/>
                <a:gd name="T2" fmla="*/ 33 w 699"/>
                <a:gd name="T3" fmla="*/ 604 h 604"/>
                <a:gd name="T4" fmla="*/ 0 w 699"/>
                <a:gd name="T5" fmla="*/ 571 h 604"/>
                <a:gd name="T6" fmla="*/ 33 w 699"/>
                <a:gd name="T7" fmla="*/ 539 h 604"/>
                <a:gd name="T8" fmla="*/ 397 w 699"/>
                <a:gd name="T9" fmla="*/ 539 h 604"/>
                <a:gd name="T10" fmla="*/ 633 w 699"/>
                <a:gd name="T11" fmla="*/ 302 h 604"/>
                <a:gd name="T12" fmla="*/ 397 w 699"/>
                <a:gd name="T13" fmla="*/ 66 h 604"/>
                <a:gd name="T14" fmla="*/ 44 w 699"/>
                <a:gd name="T15" fmla="*/ 66 h 604"/>
                <a:gd name="T16" fmla="*/ 11 w 699"/>
                <a:gd name="T17" fmla="*/ 33 h 604"/>
                <a:gd name="T18" fmla="*/ 44 w 699"/>
                <a:gd name="T19" fmla="*/ 0 h 604"/>
                <a:gd name="T20" fmla="*/ 397 w 699"/>
                <a:gd name="T21" fmla="*/ 0 h 604"/>
                <a:gd name="T22" fmla="*/ 699 w 699"/>
                <a:gd name="T23" fmla="*/ 302 h 604"/>
                <a:gd name="T24" fmla="*/ 397 w 699"/>
                <a:gd name="T25"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9" h="604">
                  <a:moveTo>
                    <a:pt x="397" y="604"/>
                  </a:moveTo>
                  <a:cubicBezTo>
                    <a:pt x="33" y="604"/>
                    <a:pt x="33" y="604"/>
                    <a:pt x="33" y="604"/>
                  </a:cubicBezTo>
                  <a:cubicBezTo>
                    <a:pt x="15" y="604"/>
                    <a:pt x="0" y="590"/>
                    <a:pt x="0" y="571"/>
                  </a:cubicBezTo>
                  <a:cubicBezTo>
                    <a:pt x="0" y="553"/>
                    <a:pt x="15" y="539"/>
                    <a:pt x="33" y="539"/>
                  </a:cubicBezTo>
                  <a:cubicBezTo>
                    <a:pt x="397" y="539"/>
                    <a:pt x="397" y="539"/>
                    <a:pt x="397" y="539"/>
                  </a:cubicBezTo>
                  <a:cubicBezTo>
                    <a:pt x="527" y="539"/>
                    <a:pt x="633" y="432"/>
                    <a:pt x="633" y="302"/>
                  </a:cubicBezTo>
                  <a:cubicBezTo>
                    <a:pt x="633" y="172"/>
                    <a:pt x="527" y="66"/>
                    <a:pt x="397" y="66"/>
                  </a:cubicBezTo>
                  <a:cubicBezTo>
                    <a:pt x="44" y="66"/>
                    <a:pt x="44" y="66"/>
                    <a:pt x="44" y="66"/>
                  </a:cubicBezTo>
                  <a:cubicBezTo>
                    <a:pt x="25" y="66"/>
                    <a:pt x="11" y="51"/>
                    <a:pt x="11" y="33"/>
                  </a:cubicBezTo>
                  <a:cubicBezTo>
                    <a:pt x="11" y="15"/>
                    <a:pt x="25" y="0"/>
                    <a:pt x="44" y="0"/>
                  </a:cubicBezTo>
                  <a:cubicBezTo>
                    <a:pt x="397" y="0"/>
                    <a:pt x="397" y="0"/>
                    <a:pt x="397" y="0"/>
                  </a:cubicBezTo>
                  <a:cubicBezTo>
                    <a:pt x="564" y="0"/>
                    <a:pt x="699" y="135"/>
                    <a:pt x="699" y="302"/>
                  </a:cubicBezTo>
                  <a:cubicBezTo>
                    <a:pt x="699" y="469"/>
                    <a:pt x="564" y="604"/>
                    <a:pt x="397" y="6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0" name="Freeform 27"/>
            <p:cNvSpPr>
              <a:spLocks/>
            </p:cNvSpPr>
            <p:nvPr userDrawn="1"/>
          </p:nvSpPr>
          <p:spPr bwMode="auto">
            <a:xfrm>
              <a:off x="6157913" y="1749425"/>
              <a:ext cx="1985963" cy="1706563"/>
            </a:xfrm>
            <a:custGeom>
              <a:avLst/>
              <a:gdLst>
                <a:gd name="T0" fmla="*/ 1218 w 1251"/>
                <a:gd name="T1" fmla="*/ 1075 h 1075"/>
                <a:gd name="T2" fmla="*/ 537 w 1251"/>
                <a:gd name="T3" fmla="*/ 1075 h 1075"/>
                <a:gd name="T4" fmla="*/ 0 w 1251"/>
                <a:gd name="T5" fmla="*/ 537 h 1075"/>
                <a:gd name="T6" fmla="*/ 537 w 1251"/>
                <a:gd name="T7" fmla="*/ 0 h 1075"/>
                <a:gd name="T8" fmla="*/ 1199 w 1251"/>
                <a:gd name="T9" fmla="*/ 0 h 1075"/>
                <a:gd name="T10" fmla="*/ 1232 w 1251"/>
                <a:gd name="T11" fmla="*/ 33 h 1075"/>
                <a:gd name="T12" fmla="*/ 1199 w 1251"/>
                <a:gd name="T13" fmla="*/ 66 h 1075"/>
                <a:gd name="T14" fmla="*/ 537 w 1251"/>
                <a:gd name="T15" fmla="*/ 66 h 1075"/>
                <a:gd name="T16" fmla="*/ 65 w 1251"/>
                <a:gd name="T17" fmla="*/ 537 h 1075"/>
                <a:gd name="T18" fmla="*/ 537 w 1251"/>
                <a:gd name="T19" fmla="*/ 1009 h 1075"/>
                <a:gd name="T20" fmla="*/ 1218 w 1251"/>
                <a:gd name="T21" fmla="*/ 1009 h 1075"/>
                <a:gd name="T22" fmla="*/ 1251 w 1251"/>
                <a:gd name="T23" fmla="*/ 1042 h 1075"/>
                <a:gd name="T24" fmla="*/ 1218 w 1251"/>
                <a:gd name="T25" fmla="*/ 1075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1" h="1075">
                  <a:moveTo>
                    <a:pt x="1218" y="1075"/>
                  </a:moveTo>
                  <a:cubicBezTo>
                    <a:pt x="537" y="1075"/>
                    <a:pt x="537" y="1075"/>
                    <a:pt x="537" y="1075"/>
                  </a:cubicBezTo>
                  <a:cubicBezTo>
                    <a:pt x="241" y="1075"/>
                    <a:pt x="0" y="834"/>
                    <a:pt x="0" y="537"/>
                  </a:cubicBezTo>
                  <a:cubicBezTo>
                    <a:pt x="0" y="241"/>
                    <a:pt x="241" y="0"/>
                    <a:pt x="537" y="0"/>
                  </a:cubicBezTo>
                  <a:cubicBezTo>
                    <a:pt x="1199" y="0"/>
                    <a:pt x="1199" y="0"/>
                    <a:pt x="1199" y="0"/>
                  </a:cubicBezTo>
                  <a:cubicBezTo>
                    <a:pt x="1217" y="0"/>
                    <a:pt x="1232" y="15"/>
                    <a:pt x="1232" y="33"/>
                  </a:cubicBezTo>
                  <a:cubicBezTo>
                    <a:pt x="1232" y="51"/>
                    <a:pt x="1217" y="66"/>
                    <a:pt x="1199" y="66"/>
                  </a:cubicBezTo>
                  <a:cubicBezTo>
                    <a:pt x="537" y="66"/>
                    <a:pt x="537" y="66"/>
                    <a:pt x="537" y="66"/>
                  </a:cubicBezTo>
                  <a:cubicBezTo>
                    <a:pt x="277" y="66"/>
                    <a:pt x="65" y="277"/>
                    <a:pt x="65" y="537"/>
                  </a:cubicBezTo>
                  <a:cubicBezTo>
                    <a:pt x="65" y="797"/>
                    <a:pt x="277" y="1009"/>
                    <a:pt x="537" y="1009"/>
                  </a:cubicBezTo>
                  <a:cubicBezTo>
                    <a:pt x="1218" y="1009"/>
                    <a:pt x="1218" y="1009"/>
                    <a:pt x="1218" y="1009"/>
                  </a:cubicBezTo>
                  <a:cubicBezTo>
                    <a:pt x="1237" y="1009"/>
                    <a:pt x="1251" y="1024"/>
                    <a:pt x="1251" y="1042"/>
                  </a:cubicBezTo>
                  <a:cubicBezTo>
                    <a:pt x="1251" y="1060"/>
                    <a:pt x="1237" y="1075"/>
                    <a:pt x="1218" y="10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1" name="Freeform 28"/>
            <p:cNvSpPr>
              <a:spLocks/>
            </p:cNvSpPr>
            <p:nvPr userDrawn="1"/>
          </p:nvSpPr>
          <p:spPr bwMode="auto">
            <a:xfrm>
              <a:off x="6380163" y="1938338"/>
              <a:ext cx="1541463" cy="1328738"/>
            </a:xfrm>
            <a:custGeom>
              <a:avLst/>
              <a:gdLst>
                <a:gd name="T0" fmla="*/ 938 w 971"/>
                <a:gd name="T1" fmla="*/ 837 h 837"/>
                <a:gd name="T2" fmla="*/ 418 w 971"/>
                <a:gd name="T3" fmla="*/ 837 h 837"/>
                <a:gd name="T4" fmla="*/ 0 w 971"/>
                <a:gd name="T5" fmla="*/ 418 h 837"/>
                <a:gd name="T6" fmla="*/ 418 w 971"/>
                <a:gd name="T7" fmla="*/ 0 h 837"/>
                <a:gd name="T8" fmla="*/ 923 w 971"/>
                <a:gd name="T9" fmla="*/ 0 h 837"/>
                <a:gd name="T10" fmla="*/ 956 w 971"/>
                <a:gd name="T11" fmla="*/ 33 h 837"/>
                <a:gd name="T12" fmla="*/ 923 w 971"/>
                <a:gd name="T13" fmla="*/ 66 h 837"/>
                <a:gd name="T14" fmla="*/ 418 w 971"/>
                <a:gd name="T15" fmla="*/ 66 h 837"/>
                <a:gd name="T16" fmla="*/ 65 w 971"/>
                <a:gd name="T17" fmla="*/ 418 h 837"/>
                <a:gd name="T18" fmla="*/ 418 w 971"/>
                <a:gd name="T19" fmla="*/ 771 h 837"/>
                <a:gd name="T20" fmla="*/ 938 w 971"/>
                <a:gd name="T21" fmla="*/ 771 h 837"/>
                <a:gd name="T22" fmla="*/ 971 w 971"/>
                <a:gd name="T23" fmla="*/ 804 h 837"/>
                <a:gd name="T24" fmla="*/ 938 w 971"/>
                <a:gd name="T25" fmla="*/ 837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837">
                  <a:moveTo>
                    <a:pt x="938" y="837"/>
                  </a:moveTo>
                  <a:cubicBezTo>
                    <a:pt x="418" y="837"/>
                    <a:pt x="418" y="837"/>
                    <a:pt x="418" y="837"/>
                  </a:cubicBezTo>
                  <a:cubicBezTo>
                    <a:pt x="187" y="837"/>
                    <a:pt x="0" y="649"/>
                    <a:pt x="0" y="418"/>
                  </a:cubicBezTo>
                  <a:cubicBezTo>
                    <a:pt x="0" y="188"/>
                    <a:pt x="187" y="0"/>
                    <a:pt x="418" y="0"/>
                  </a:cubicBezTo>
                  <a:cubicBezTo>
                    <a:pt x="923" y="0"/>
                    <a:pt x="923" y="0"/>
                    <a:pt x="923" y="0"/>
                  </a:cubicBezTo>
                  <a:cubicBezTo>
                    <a:pt x="942" y="0"/>
                    <a:pt x="956" y="15"/>
                    <a:pt x="956" y="33"/>
                  </a:cubicBezTo>
                  <a:cubicBezTo>
                    <a:pt x="956" y="51"/>
                    <a:pt x="942" y="66"/>
                    <a:pt x="923" y="66"/>
                  </a:cubicBezTo>
                  <a:cubicBezTo>
                    <a:pt x="418" y="66"/>
                    <a:pt x="418" y="66"/>
                    <a:pt x="418" y="66"/>
                  </a:cubicBezTo>
                  <a:cubicBezTo>
                    <a:pt x="223" y="66"/>
                    <a:pt x="65" y="224"/>
                    <a:pt x="65" y="418"/>
                  </a:cubicBezTo>
                  <a:cubicBezTo>
                    <a:pt x="65" y="613"/>
                    <a:pt x="223" y="771"/>
                    <a:pt x="418" y="771"/>
                  </a:cubicBezTo>
                  <a:cubicBezTo>
                    <a:pt x="938" y="771"/>
                    <a:pt x="938" y="771"/>
                    <a:pt x="938" y="771"/>
                  </a:cubicBezTo>
                  <a:cubicBezTo>
                    <a:pt x="957" y="771"/>
                    <a:pt x="971" y="786"/>
                    <a:pt x="971" y="804"/>
                  </a:cubicBezTo>
                  <a:cubicBezTo>
                    <a:pt x="971" y="822"/>
                    <a:pt x="957" y="837"/>
                    <a:pt x="938" y="8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 name="Freeform 29"/>
            <p:cNvSpPr>
              <a:spLocks/>
            </p:cNvSpPr>
            <p:nvPr userDrawn="1"/>
          </p:nvSpPr>
          <p:spPr bwMode="auto">
            <a:xfrm>
              <a:off x="6596063" y="2122488"/>
              <a:ext cx="1109663" cy="960438"/>
            </a:xfrm>
            <a:custGeom>
              <a:avLst/>
              <a:gdLst>
                <a:gd name="T0" fmla="*/ 666 w 699"/>
                <a:gd name="T1" fmla="*/ 605 h 605"/>
                <a:gd name="T2" fmla="*/ 302 w 699"/>
                <a:gd name="T3" fmla="*/ 605 h 605"/>
                <a:gd name="T4" fmla="*/ 0 w 699"/>
                <a:gd name="T5" fmla="*/ 302 h 605"/>
                <a:gd name="T6" fmla="*/ 302 w 699"/>
                <a:gd name="T7" fmla="*/ 0 h 605"/>
                <a:gd name="T8" fmla="*/ 656 w 699"/>
                <a:gd name="T9" fmla="*/ 0 h 605"/>
                <a:gd name="T10" fmla="*/ 688 w 699"/>
                <a:gd name="T11" fmla="*/ 33 h 605"/>
                <a:gd name="T12" fmla="*/ 656 w 699"/>
                <a:gd name="T13" fmla="*/ 66 h 605"/>
                <a:gd name="T14" fmla="*/ 302 w 699"/>
                <a:gd name="T15" fmla="*/ 66 h 605"/>
                <a:gd name="T16" fmla="*/ 66 w 699"/>
                <a:gd name="T17" fmla="*/ 302 h 605"/>
                <a:gd name="T18" fmla="*/ 302 w 699"/>
                <a:gd name="T19" fmla="*/ 539 h 605"/>
                <a:gd name="T20" fmla="*/ 666 w 699"/>
                <a:gd name="T21" fmla="*/ 539 h 605"/>
                <a:gd name="T22" fmla="*/ 699 w 699"/>
                <a:gd name="T23" fmla="*/ 572 h 605"/>
                <a:gd name="T24" fmla="*/ 666 w 699"/>
                <a:gd name="T25" fmla="*/ 605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9" h="605">
                  <a:moveTo>
                    <a:pt x="666" y="605"/>
                  </a:moveTo>
                  <a:cubicBezTo>
                    <a:pt x="302" y="605"/>
                    <a:pt x="302" y="605"/>
                    <a:pt x="302" y="605"/>
                  </a:cubicBezTo>
                  <a:cubicBezTo>
                    <a:pt x="136" y="605"/>
                    <a:pt x="0" y="469"/>
                    <a:pt x="0" y="302"/>
                  </a:cubicBezTo>
                  <a:cubicBezTo>
                    <a:pt x="0" y="136"/>
                    <a:pt x="136" y="0"/>
                    <a:pt x="302" y="0"/>
                  </a:cubicBezTo>
                  <a:cubicBezTo>
                    <a:pt x="656" y="0"/>
                    <a:pt x="656" y="0"/>
                    <a:pt x="656" y="0"/>
                  </a:cubicBezTo>
                  <a:cubicBezTo>
                    <a:pt x="674" y="0"/>
                    <a:pt x="688" y="15"/>
                    <a:pt x="688" y="33"/>
                  </a:cubicBezTo>
                  <a:cubicBezTo>
                    <a:pt x="688" y="51"/>
                    <a:pt x="674" y="66"/>
                    <a:pt x="656" y="66"/>
                  </a:cubicBezTo>
                  <a:cubicBezTo>
                    <a:pt x="302" y="66"/>
                    <a:pt x="302" y="66"/>
                    <a:pt x="302" y="66"/>
                  </a:cubicBezTo>
                  <a:cubicBezTo>
                    <a:pt x="172" y="66"/>
                    <a:pt x="66" y="172"/>
                    <a:pt x="66" y="302"/>
                  </a:cubicBezTo>
                  <a:cubicBezTo>
                    <a:pt x="66" y="433"/>
                    <a:pt x="172" y="539"/>
                    <a:pt x="302" y="539"/>
                  </a:cubicBezTo>
                  <a:cubicBezTo>
                    <a:pt x="666" y="539"/>
                    <a:pt x="666" y="539"/>
                    <a:pt x="666" y="539"/>
                  </a:cubicBezTo>
                  <a:cubicBezTo>
                    <a:pt x="684" y="539"/>
                    <a:pt x="699" y="554"/>
                    <a:pt x="699" y="572"/>
                  </a:cubicBezTo>
                  <a:cubicBezTo>
                    <a:pt x="699" y="590"/>
                    <a:pt x="684" y="605"/>
                    <a:pt x="666" y="6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3" name="Rectangle 30"/>
            <p:cNvSpPr>
              <a:spLocks noChangeArrowheads="1"/>
            </p:cNvSpPr>
            <p:nvPr userDrawn="1"/>
          </p:nvSpPr>
          <p:spPr bwMode="auto">
            <a:xfrm>
              <a:off x="9318626" y="3700463"/>
              <a:ext cx="192088" cy="228600"/>
            </a:xfrm>
            <a:prstGeom prst="rect">
              <a:avLst/>
            </a:prstGeom>
            <a:solidFill>
              <a:srgbClr val="2763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Rectangle 31"/>
            <p:cNvSpPr>
              <a:spLocks noChangeArrowheads="1"/>
            </p:cNvSpPr>
            <p:nvPr userDrawn="1"/>
          </p:nvSpPr>
          <p:spPr bwMode="auto">
            <a:xfrm>
              <a:off x="9318626" y="3870325"/>
              <a:ext cx="192088" cy="58738"/>
            </a:xfrm>
            <a:prstGeom prst="rect">
              <a:avLst/>
            </a:prstGeom>
            <a:solidFill>
              <a:srgbClr val="155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Rectangle 32"/>
            <p:cNvSpPr>
              <a:spLocks noChangeArrowheads="1"/>
            </p:cNvSpPr>
            <p:nvPr userDrawn="1"/>
          </p:nvSpPr>
          <p:spPr bwMode="auto">
            <a:xfrm>
              <a:off x="9239251" y="3927475"/>
              <a:ext cx="350838" cy="114300"/>
            </a:xfrm>
            <a:prstGeom prst="rect">
              <a:avLst/>
            </a:prstGeom>
            <a:solidFill>
              <a:srgbClr val="2763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 name="Rectangle 33"/>
            <p:cNvSpPr>
              <a:spLocks noChangeArrowheads="1"/>
            </p:cNvSpPr>
            <p:nvPr userDrawn="1"/>
          </p:nvSpPr>
          <p:spPr bwMode="auto">
            <a:xfrm>
              <a:off x="9239251" y="3998913"/>
              <a:ext cx="350838" cy="42863"/>
            </a:xfrm>
            <a:prstGeom prst="rect">
              <a:avLst/>
            </a:prstGeom>
            <a:solidFill>
              <a:srgbClr val="155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Rectangle 34"/>
            <p:cNvSpPr>
              <a:spLocks noChangeArrowheads="1"/>
            </p:cNvSpPr>
            <p:nvPr userDrawn="1"/>
          </p:nvSpPr>
          <p:spPr bwMode="auto">
            <a:xfrm>
              <a:off x="9064626" y="4041775"/>
              <a:ext cx="698500" cy="147638"/>
            </a:xfrm>
            <a:prstGeom prst="rect">
              <a:avLst/>
            </a:prstGeom>
            <a:solidFill>
              <a:srgbClr val="2763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Rectangle 35"/>
            <p:cNvSpPr>
              <a:spLocks noChangeArrowheads="1"/>
            </p:cNvSpPr>
            <p:nvPr userDrawn="1"/>
          </p:nvSpPr>
          <p:spPr bwMode="auto">
            <a:xfrm>
              <a:off x="9064626" y="4133850"/>
              <a:ext cx="698500" cy="55563"/>
            </a:xfrm>
            <a:prstGeom prst="rect">
              <a:avLst/>
            </a:prstGeom>
            <a:solidFill>
              <a:srgbClr val="155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36"/>
            <p:cNvSpPr>
              <a:spLocks/>
            </p:cNvSpPr>
            <p:nvPr userDrawn="1"/>
          </p:nvSpPr>
          <p:spPr bwMode="auto">
            <a:xfrm>
              <a:off x="8782051" y="1685925"/>
              <a:ext cx="1214438" cy="2058988"/>
            </a:xfrm>
            <a:custGeom>
              <a:avLst/>
              <a:gdLst>
                <a:gd name="T0" fmla="*/ 755 w 766"/>
                <a:gd name="T1" fmla="*/ 1293 h 1297"/>
                <a:gd name="T2" fmla="*/ 762 w 766"/>
                <a:gd name="T3" fmla="*/ 1269 h 1297"/>
                <a:gd name="T4" fmla="*/ 35 w 766"/>
                <a:gd name="T5" fmla="*/ 11 h 1297"/>
                <a:gd name="T6" fmla="*/ 12 w 766"/>
                <a:gd name="T7" fmla="*/ 4 h 1297"/>
                <a:gd name="T8" fmla="*/ 5 w 766"/>
                <a:gd name="T9" fmla="*/ 28 h 1297"/>
                <a:gd name="T10" fmla="*/ 732 w 766"/>
                <a:gd name="T11" fmla="*/ 1286 h 1297"/>
                <a:gd name="T12" fmla="*/ 755 w 766"/>
                <a:gd name="T13" fmla="*/ 1293 h 1297"/>
              </a:gdLst>
              <a:ahLst/>
              <a:cxnLst>
                <a:cxn ang="0">
                  <a:pos x="T0" y="T1"/>
                </a:cxn>
                <a:cxn ang="0">
                  <a:pos x="T2" y="T3"/>
                </a:cxn>
                <a:cxn ang="0">
                  <a:pos x="T4" y="T5"/>
                </a:cxn>
                <a:cxn ang="0">
                  <a:pos x="T6" y="T7"/>
                </a:cxn>
                <a:cxn ang="0">
                  <a:pos x="T8" y="T9"/>
                </a:cxn>
                <a:cxn ang="0">
                  <a:pos x="T10" y="T11"/>
                </a:cxn>
                <a:cxn ang="0">
                  <a:pos x="T12" y="T13"/>
                </a:cxn>
              </a:cxnLst>
              <a:rect l="0" t="0" r="r" b="b"/>
              <a:pathLst>
                <a:path w="766" h="1297">
                  <a:moveTo>
                    <a:pt x="755" y="1293"/>
                  </a:moveTo>
                  <a:cubicBezTo>
                    <a:pt x="764" y="1288"/>
                    <a:pt x="766" y="1277"/>
                    <a:pt x="762" y="1269"/>
                  </a:cubicBezTo>
                  <a:cubicBezTo>
                    <a:pt x="35" y="11"/>
                    <a:pt x="35" y="11"/>
                    <a:pt x="35" y="11"/>
                  </a:cubicBezTo>
                  <a:cubicBezTo>
                    <a:pt x="30" y="2"/>
                    <a:pt x="20" y="0"/>
                    <a:pt x="12" y="4"/>
                  </a:cubicBezTo>
                  <a:cubicBezTo>
                    <a:pt x="3" y="9"/>
                    <a:pt x="0" y="20"/>
                    <a:pt x="5" y="28"/>
                  </a:cubicBezTo>
                  <a:cubicBezTo>
                    <a:pt x="732" y="1286"/>
                    <a:pt x="732" y="1286"/>
                    <a:pt x="732" y="1286"/>
                  </a:cubicBezTo>
                  <a:cubicBezTo>
                    <a:pt x="736" y="1294"/>
                    <a:pt x="747" y="1297"/>
                    <a:pt x="755" y="129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096" name="Freeform 39"/>
            <p:cNvSpPr>
              <a:spLocks/>
            </p:cNvSpPr>
            <p:nvPr userDrawn="1"/>
          </p:nvSpPr>
          <p:spPr bwMode="auto">
            <a:xfrm>
              <a:off x="8189913" y="1704975"/>
              <a:ext cx="1935163" cy="2189163"/>
            </a:xfrm>
            <a:custGeom>
              <a:avLst/>
              <a:gdLst>
                <a:gd name="T0" fmla="*/ 1070 w 1220"/>
                <a:gd name="T1" fmla="*/ 1200 h 1379"/>
                <a:gd name="T2" fmla="*/ 1209 w 1220"/>
                <a:gd name="T3" fmla="*/ 1092 h 1379"/>
                <a:gd name="T4" fmla="*/ 1209 w 1220"/>
                <a:gd name="T5" fmla="*/ 1051 h 1379"/>
                <a:gd name="T6" fmla="*/ 1168 w 1220"/>
                <a:gd name="T7" fmla="*/ 1052 h 1379"/>
                <a:gd name="T8" fmla="*/ 1041 w 1220"/>
                <a:gd name="T9" fmla="*/ 1150 h 1379"/>
                <a:gd name="T10" fmla="*/ 230 w 1220"/>
                <a:gd name="T11" fmla="*/ 932 h 1379"/>
                <a:gd name="T12" fmla="*/ 447 w 1220"/>
                <a:gd name="T13" fmla="*/ 121 h 1379"/>
                <a:gd name="T14" fmla="*/ 595 w 1220"/>
                <a:gd name="T15" fmla="*/ 60 h 1379"/>
                <a:gd name="T16" fmla="*/ 616 w 1220"/>
                <a:gd name="T17" fmla="*/ 25 h 1379"/>
                <a:gd name="T18" fmla="*/ 581 w 1220"/>
                <a:gd name="T19" fmla="*/ 4 h 1379"/>
                <a:gd name="T20" fmla="*/ 418 w 1220"/>
                <a:gd name="T21" fmla="*/ 71 h 1379"/>
                <a:gd name="T22" fmla="*/ 180 w 1220"/>
                <a:gd name="T23" fmla="*/ 961 h 1379"/>
                <a:gd name="T24" fmla="*/ 1070 w 1220"/>
                <a:gd name="T25" fmla="*/ 120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0" h="1379">
                  <a:moveTo>
                    <a:pt x="1070" y="1200"/>
                  </a:moveTo>
                  <a:cubicBezTo>
                    <a:pt x="1121" y="1170"/>
                    <a:pt x="1168" y="1134"/>
                    <a:pt x="1209" y="1092"/>
                  </a:cubicBezTo>
                  <a:cubicBezTo>
                    <a:pt x="1220" y="1081"/>
                    <a:pt x="1220" y="1063"/>
                    <a:pt x="1209" y="1051"/>
                  </a:cubicBezTo>
                  <a:cubicBezTo>
                    <a:pt x="1197" y="1040"/>
                    <a:pt x="1179" y="1040"/>
                    <a:pt x="1168" y="1052"/>
                  </a:cubicBezTo>
                  <a:cubicBezTo>
                    <a:pt x="1130" y="1090"/>
                    <a:pt x="1088" y="1123"/>
                    <a:pt x="1041" y="1150"/>
                  </a:cubicBezTo>
                  <a:cubicBezTo>
                    <a:pt x="758" y="1313"/>
                    <a:pt x="394" y="1216"/>
                    <a:pt x="230" y="932"/>
                  </a:cubicBezTo>
                  <a:cubicBezTo>
                    <a:pt x="66" y="649"/>
                    <a:pt x="164" y="285"/>
                    <a:pt x="447" y="121"/>
                  </a:cubicBezTo>
                  <a:cubicBezTo>
                    <a:pt x="494" y="94"/>
                    <a:pt x="544" y="73"/>
                    <a:pt x="595" y="60"/>
                  </a:cubicBezTo>
                  <a:cubicBezTo>
                    <a:pt x="611" y="56"/>
                    <a:pt x="620" y="40"/>
                    <a:pt x="616" y="25"/>
                  </a:cubicBezTo>
                  <a:cubicBezTo>
                    <a:pt x="612" y="9"/>
                    <a:pt x="596" y="0"/>
                    <a:pt x="581" y="4"/>
                  </a:cubicBezTo>
                  <a:cubicBezTo>
                    <a:pt x="524" y="19"/>
                    <a:pt x="469" y="41"/>
                    <a:pt x="418" y="71"/>
                  </a:cubicBezTo>
                  <a:cubicBezTo>
                    <a:pt x="107" y="250"/>
                    <a:pt x="0" y="650"/>
                    <a:pt x="180" y="961"/>
                  </a:cubicBezTo>
                  <a:cubicBezTo>
                    <a:pt x="359" y="1272"/>
                    <a:pt x="759" y="1379"/>
                    <a:pt x="1070" y="12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097" name="Freeform 40"/>
            <p:cNvSpPr>
              <a:spLocks/>
            </p:cNvSpPr>
            <p:nvPr userDrawn="1"/>
          </p:nvSpPr>
          <p:spPr bwMode="auto">
            <a:xfrm>
              <a:off x="8242301" y="1746250"/>
              <a:ext cx="1863725" cy="2097088"/>
            </a:xfrm>
            <a:custGeom>
              <a:avLst/>
              <a:gdLst>
                <a:gd name="T0" fmla="*/ 400 w 1175"/>
                <a:gd name="T1" fmla="*/ 70 h 1321"/>
                <a:gd name="T2" fmla="*/ 583 w 1175"/>
                <a:gd name="T3" fmla="*/ 0 h 1321"/>
                <a:gd name="T4" fmla="*/ 562 w 1175"/>
                <a:gd name="T5" fmla="*/ 34 h 1321"/>
                <a:gd name="T6" fmla="*/ 414 w 1175"/>
                <a:gd name="T7" fmla="*/ 95 h 1321"/>
                <a:gd name="T8" fmla="*/ 197 w 1175"/>
                <a:gd name="T9" fmla="*/ 906 h 1321"/>
                <a:gd name="T10" fmla="*/ 1008 w 1175"/>
                <a:gd name="T11" fmla="*/ 1124 h 1321"/>
                <a:gd name="T12" fmla="*/ 1135 w 1175"/>
                <a:gd name="T13" fmla="*/ 1026 h 1321"/>
                <a:gd name="T14" fmla="*/ 1175 w 1175"/>
                <a:gd name="T15" fmla="*/ 1025 h 1321"/>
                <a:gd name="T16" fmla="*/ 1023 w 1175"/>
                <a:gd name="T17" fmla="*/ 1149 h 1321"/>
                <a:gd name="T18" fmla="*/ 172 w 1175"/>
                <a:gd name="T19" fmla="*/ 921 h 1321"/>
                <a:gd name="T20" fmla="*/ 400 w 1175"/>
                <a:gd name="T21" fmla="*/ 70 h 1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5" h="1321">
                  <a:moveTo>
                    <a:pt x="400" y="70"/>
                  </a:moveTo>
                  <a:cubicBezTo>
                    <a:pt x="458" y="36"/>
                    <a:pt x="520" y="13"/>
                    <a:pt x="583" y="0"/>
                  </a:cubicBezTo>
                  <a:cubicBezTo>
                    <a:pt x="587" y="15"/>
                    <a:pt x="578" y="30"/>
                    <a:pt x="562" y="34"/>
                  </a:cubicBezTo>
                  <a:cubicBezTo>
                    <a:pt x="511" y="47"/>
                    <a:pt x="461" y="68"/>
                    <a:pt x="414" y="95"/>
                  </a:cubicBezTo>
                  <a:cubicBezTo>
                    <a:pt x="131" y="259"/>
                    <a:pt x="33" y="623"/>
                    <a:pt x="197" y="906"/>
                  </a:cubicBezTo>
                  <a:cubicBezTo>
                    <a:pt x="361" y="1190"/>
                    <a:pt x="725" y="1287"/>
                    <a:pt x="1008" y="1124"/>
                  </a:cubicBezTo>
                  <a:cubicBezTo>
                    <a:pt x="1055" y="1097"/>
                    <a:pt x="1097" y="1064"/>
                    <a:pt x="1135" y="1026"/>
                  </a:cubicBezTo>
                  <a:cubicBezTo>
                    <a:pt x="1146" y="1015"/>
                    <a:pt x="1164" y="1014"/>
                    <a:pt x="1175" y="1025"/>
                  </a:cubicBezTo>
                  <a:cubicBezTo>
                    <a:pt x="1132" y="1073"/>
                    <a:pt x="1081" y="1115"/>
                    <a:pt x="1023" y="1149"/>
                  </a:cubicBezTo>
                  <a:cubicBezTo>
                    <a:pt x="725" y="1321"/>
                    <a:pt x="344" y="1219"/>
                    <a:pt x="172" y="921"/>
                  </a:cubicBezTo>
                  <a:cubicBezTo>
                    <a:pt x="0" y="623"/>
                    <a:pt x="102" y="242"/>
                    <a:pt x="400" y="70"/>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098" name="Freeform 41"/>
            <p:cNvSpPr>
              <a:spLocks/>
            </p:cNvSpPr>
            <p:nvPr userDrawn="1"/>
          </p:nvSpPr>
          <p:spPr bwMode="auto">
            <a:xfrm>
              <a:off x="8442326" y="1784350"/>
              <a:ext cx="1857375" cy="1857375"/>
            </a:xfrm>
            <a:custGeom>
              <a:avLst/>
              <a:gdLst>
                <a:gd name="T0" fmla="*/ 141 w 1171"/>
                <a:gd name="T1" fmla="*/ 841 h 1170"/>
                <a:gd name="T2" fmla="*/ 841 w 1171"/>
                <a:gd name="T3" fmla="*/ 1029 h 1170"/>
                <a:gd name="T4" fmla="*/ 1029 w 1171"/>
                <a:gd name="T5" fmla="*/ 329 h 1170"/>
                <a:gd name="T6" fmla="*/ 329 w 1171"/>
                <a:gd name="T7" fmla="*/ 141 h 1170"/>
                <a:gd name="T8" fmla="*/ 141 w 1171"/>
                <a:gd name="T9" fmla="*/ 841 h 1170"/>
              </a:gdLst>
              <a:ahLst/>
              <a:cxnLst>
                <a:cxn ang="0">
                  <a:pos x="T0" y="T1"/>
                </a:cxn>
                <a:cxn ang="0">
                  <a:pos x="T2" y="T3"/>
                </a:cxn>
                <a:cxn ang="0">
                  <a:pos x="T4" y="T5"/>
                </a:cxn>
                <a:cxn ang="0">
                  <a:pos x="T6" y="T7"/>
                </a:cxn>
                <a:cxn ang="0">
                  <a:pos x="T8" y="T9"/>
                </a:cxn>
              </a:cxnLst>
              <a:rect l="0" t="0" r="r" b="b"/>
              <a:pathLst>
                <a:path w="1171" h="1170">
                  <a:moveTo>
                    <a:pt x="141" y="841"/>
                  </a:moveTo>
                  <a:cubicBezTo>
                    <a:pt x="283" y="1087"/>
                    <a:pt x="596" y="1170"/>
                    <a:pt x="841" y="1029"/>
                  </a:cubicBezTo>
                  <a:cubicBezTo>
                    <a:pt x="1087" y="887"/>
                    <a:pt x="1171" y="574"/>
                    <a:pt x="1029" y="329"/>
                  </a:cubicBezTo>
                  <a:cubicBezTo>
                    <a:pt x="888" y="84"/>
                    <a:pt x="574" y="0"/>
                    <a:pt x="329" y="141"/>
                  </a:cubicBezTo>
                  <a:cubicBezTo>
                    <a:pt x="84" y="283"/>
                    <a:pt x="0" y="596"/>
                    <a:pt x="141" y="84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099" name="Freeform 42"/>
            <p:cNvSpPr>
              <a:spLocks/>
            </p:cNvSpPr>
            <p:nvPr userDrawn="1"/>
          </p:nvSpPr>
          <p:spPr bwMode="auto">
            <a:xfrm>
              <a:off x="8499476" y="1784350"/>
              <a:ext cx="1593850" cy="1116013"/>
            </a:xfrm>
            <a:custGeom>
              <a:avLst/>
              <a:gdLst>
                <a:gd name="T0" fmla="*/ 309 w 1005"/>
                <a:gd name="T1" fmla="*/ 187 h 703"/>
                <a:gd name="T2" fmla="*/ 50 w 1005"/>
                <a:gd name="T3" fmla="*/ 703 h 703"/>
                <a:gd name="T4" fmla="*/ 293 w 1005"/>
                <a:gd name="T5" fmla="*/ 141 h 703"/>
                <a:gd name="T6" fmla="*/ 993 w 1005"/>
                <a:gd name="T7" fmla="*/ 329 h 703"/>
                <a:gd name="T8" fmla="*/ 1005 w 1005"/>
                <a:gd name="T9" fmla="*/ 350 h 703"/>
                <a:gd name="T10" fmla="*/ 309 w 1005"/>
                <a:gd name="T11" fmla="*/ 187 h 703"/>
              </a:gdLst>
              <a:ahLst/>
              <a:cxnLst>
                <a:cxn ang="0">
                  <a:pos x="T0" y="T1"/>
                </a:cxn>
                <a:cxn ang="0">
                  <a:pos x="T2" y="T3"/>
                </a:cxn>
                <a:cxn ang="0">
                  <a:pos x="T4" y="T5"/>
                </a:cxn>
                <a:cxn ang="0">
                  <a:pos x="T6" y="T7"/>
                </a:cxn>
                <a:cxn ang="0">
                  <a:pos x="T8" y="T9"/>
                </a:cxn>
                <a:cxn ang="0">
                  <a:pos x="T10" y="T11"/>
                </a:cxn>
              </a:cxnLst>
              <a:rect l="0" t="0" r="r" b="b"/>
              <a:pathLst>
                <a:path w="1005" h="703">
                  <a:moveTo>
                    <a:pt x="309" y="187"/>
                  </a:moveTo>
                  <a:cubicBezTo>
                    <a:pt x="121" y="296"/>
                    <a:pt x="25" y="502"/>
                    <a:pt x="50" y="703"/>
                  </a:cubicBezTo>
                  <a:cubicBezTo>
                    <a:pt x="0" y="488"/>
                    <a:pt x="93" y="257"/>
                    <a:pt x="293" y="141"/>
                  </a:cubicBezTo>
                  <a:cubicBezTo>
                    <a:pt x="538" y="0"/>
                    <a:pt x="852" y="84"/>
                    <a:pt x="993" y="329"/>
                  </a:cubicBezTo>
                  <a:cubicBezTo>
                    <a:pt x="997" y="336"/>
                    <a:pt x="1001" y="343"/>
                    <a:pt x="1005" y="350"/>
                  </a:cubicBezTo>
                  <a:cubicBezTo>
                    <a:pt x="858" y="121"/>
                    <a:pt x="552" y="47"/>
                    <a:pt x="309" y="18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00" name="Freeform 43"/>
            <p:cNvSpPr>
              <a:spLocks/>
            </p:cNvSpPr>
            <p:nvPr userDrawn="1"/>
          </p:nvSpPr>
          <p:spPr bwMode="auto">
            <a:xfrm>
              <a:off x="8529638" y="2481263"/>
              <a:ext cx="1660525" cy="1160463"/>
            </a:xfrm>
            <a:custGeom>
              <a:avLst/>
              <a:gdLst>
                <a:gd name="T0" fmla="*/ 39 w 1047"/>
                <a:gd name="T1" fmla="*/ 0 h 731"/>
                <a:gd name="T2" fmla="*/ 108 w 1047"/>
                <a:gd name="T3" fmla="*/ 242 h 731"/>
                <a:gd name="T4" fmla="*/ 808 w 1047"/>
                <a:gd name="T5" fmla="*/ 429 h 731"/>
                <a:gd name="T6" fmla="*/ 1043 w 1047"/>
                <a:gd name="T7" fmla="*/ 132 h 731"/>
                <a:gd name="T8" fmla="*/ 786 w 1047"/>
                <a:gd name="T9" fmla="*/ 590 h 731"/>
                <a:gd name="T10" fmla="*/ 86 w 1047"/>
                <a:gd name="T11" fmla="*/ 402 h 731"/>
                <a:gd name="T12" fmla="*/ 39 w 1047"/>
                <a:gd name="T13" fmla="*/ 0 h 731"/>
              </a:gdLst>
              <a:ahLst/>
              <a:cxnLst>
                <a:cxn ang="0">
                  <a:pos x="T0" y="T1"/>
                </a:cxn>
                <a:cxn ang="0">
                  <a:pos x="T2" y="T3"/>
                </a:cxn>
                <a:cxn ang="0">
                  <a:pos x="T4" y="T5"/>
                </a:cxn>
                <a:cxn ang="0">
                  <a:pos x="T6" y="T7"/>
                </a:cxn>
                <a:cxn ang="0">
                  <a:pos x="T8" y="T9"/>
                </a:cxn>
                <a:cxn ang="0">
                  <a:pos x="T10" y="T11"/>
                </a:cxn>
                <a:cxn ang="0">
                  <a:pos x="T12" y="T13"/>
                </a:cxn>
              </a:cxnLst>
              <a:rect l="0" t="0" r="r" b="b"/>
              <a:pathLst>
                <a:path w="1047" h="731">
                  <a:moveTo>
                    <a:pt x="39" y="0"/>
                  </a:moveTo>
                  <a:cubicBezTo>
                    <a:pt x="41" y="82"/>
                    <a:pt x="64" y="165"/>
                    <a:pt x="108" y="242"/>
                  </a:cubicBezTo>
                  <a:cubicBezTo>
                    <a:pt x="249" y="487"/>
                    <a:pt x="563" y="571"/>
                    <a:pt x="808" y="429"/>
                  </a:cubicBezTo>
                  <a:cubicBezTo>
                    <a:pt x="926" y="361"/>
                    <a:pt x="1007" y="253"/>
                    <a:pt x="1043" y="132"/>
                  </a:cubicBezTo>
                  <a:cubicBezTo>
                    <a:pt x="1047" y="314"/>
                    <a:pt x="955" y="493"/>
                    <a:pt x="786" y="590"/>
                  </a:cubicBezTo>
                  <a:cubicBezTo>
                    <a:pt x="541" y="731"/>
                    <a:pt x="228" y="648"/>
                    <a:pt x="86" y="402"/>
                  </a:cubicBezTo>
                  <a:cubicBezTo>
                    <a:pt x="13" y="275"/>
                    <a:pt x="0" y="130"/>
                    <a:pt x="39" y="0"/>
                  </a:cubicBezTo>
                  <a:close/>
                </a:path>
              </a:pathLst>
            </a:custGeom>
            <a:solidFill>
              <a:srgbClr val="2184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01" name="Freeform 44"/>
            <p:cNvSpPr>
              <a:spLocks/>
            </p:cNvSpPr>
            <p:nvPr userDrawn="1"/>
          </p:nvSpPr>
          <p:spPr bwMode="auto">
            <a:xfrm>
              <a:off x="8558213" y="2357438"/>
              <a:ext cx="703263" cy="1155700"/>
            </a:xfrm>
            <a:custGeom>
              <a:avLst/>
              <a:gdLst>
                <a:gd name="T0" fmla="*/ 54 w 443"/>
                <a:gd name="T1" fmla="*/ 454 h 728"/>
                <a:gd name="T2" fmla="*/ 47 w 443"/>
                <a:gd name="T3" fmla="*/ 440 h 728"/>
                <a:gd name="T4" fmla="*/ 40 w 443"/>
                <a:gd name="T5" fmla="*/ 422 h 728"/>
                <a:gd name="T6" fmla="*/ 34 w 443"/>
                <a:gd name="T7" fmla="*/ 408 h 728"/>
                <a:gd name="T8" fmla="*/ 29 w 443"/>
                <a:gd name="T9" fmla="*/ 394 h 728"/>
                <a:gd name="T10" fmla="*/ 24 w 443"/>
                <a:gd name="T11" fmla="*/ 380 h 728"/>
                <a:gd name="T12" fmla="*/ 19 w 443"/>
                <a:gd name="T13" fmla="*/ 362 h 728"/>
                <a:gd name="T14" fmla="*/ 15 w 443"/>
                <a:gd name="T15" fmla="*/ 347 h 728"/>
                <a:gd name="T16" fmla="*/ 11 w 443"/>
                <a:gd name="T17" fmla="*/ 333 h 728"/>
                <a:gd name="T18" fmla="*/ 8 w 443"/>
                <a:gd name="T19" fmla="*/ 319 h 728"/>
                <a:gd name="T20" fmla="*/ 5 w 443"/>
                <a:gd name="T21" fmla="*/ 300 h 728"/>
                <a:gd name="T22" fmla="*/ 3 w 443"/>
                <a:gd name="T23" fmla="*/ 286 h 728"/>
                <a:gd name="T24" fmla="*/ 2 w 443"/>
                <a:gd name="T25" fmla="*/ 271 h 728"/>
                <a:gd name="T26" fmla="*/ 1 w 443"/>
                <a:gd name="T27" fmla="*/ 257 h 728"/>
                <a:gd name="T28" fmla="*/ 0 w 443"/>
                <a:gd name="T29" fmla="*/ 238 h 728"/>
                <a:gd name="T30" fmla="*/ 0 w 443"/>
                <a:gd name="T31" fmla="*/ 224 h 728"/>
                <a:gd name="T32" fmla="*/ 0 w 443"/>
                <a:gd name="T33" fmla="*/ 210 h 728"/>
                <a:gd name="T34" fmla="*/ 1 w 443"/>
                <a:gd name="T35" fmla="*/ 195 h 728"/>
                <a:gd name="T36" fmla="*/ 4 w 443"/>
                <a:gd name="T37" fmla="*/ 162 h 728"/>
                <a:gd name="T38" fmla="*/ 6 w 443"/>
                <a:gd name="T39" fmla="*/ 148 h 728"/>
                <a:gd name="T40" fmla="*/ 8 w 443"/>
                <a:gd name="T41" fmla="*/ 133 h 728"/>
                <a:gd name="T42" fmla="*/ 15 w 443"/>
                <a:gd name="T43" fmla="*/ 102 h 728"/>
                <a:gd name="T44" fmla="*/ 18 w 443"/>
                <a:gd name="T45" fmla="*/ 88 h 728"/>
                <a:gd name="T46" fmla="*/ 22 w 443"/>
                <a:gd name="T47" fmla="*/ 74 h 728"/>
                <a:gd name="T48" fmla="*/ 33 w 443"/>
                <a:gd name="T49" fmla="*/ 43 h 728"/>
                <a:gd name="T50" fmla="*/ 38 w 443"/>
                <a:gd name="T51" fmla="*/ 30 h 728"/>
                <a:gd name="T52" fmla="*/ 44 w 443"/>
                <a:gd name="T53" fmla="*/ 16 h 728"/>
                <a:gd name="T54" fmla="*/ 51 w 443"/>
                <a:gd name="T55" fmla="*/ 0 h 728"/>
                <a:gd name="T56" fmla="*/ 125 w 443"/>
                <a:gd name="T57" fmla="*/ 84 h 728"/>
                <a:gd name="T58" fmla="*/ 339 w 443"/>
                <a:gd name="T59" fmla="*/ 99 h 728"/>
                <a:gd name="T60" fmla="*/ 336 w 443"/>
                <a:gd name="T61" fmla="*/ 310 h 728"/>
                <a:gd name="T62" fmla="*/ 314 w 443"/>
                <a:gd name="T63" fmla="*/ 556 h 728"/>
                <a:gd name="T64" fmla="*/ 418 w 443"/>
                <a:gd name="T65" fmla="*/ 728 h 728"/>
                <a:gd name="T66" fmla="*/ 365 w 443"/>
                <a:gd name="T67" fmla="*/ 715 h 728"/>
                <a:gd name="T68" fmla="*/ 352 w 443"/>
                <a:gd name="T69" fmla="*/ 711 h 728"/>
                <a:gd name="T70" fmla="*/ 338 w 443"/>
                <a:gd name="T71" fmla="*/ 706 h 728"/>
                <a:gd name="T72" fmla="*/ 326 w 443"/>
                <a:gd name="T73" fmla="*/ 702 h 728"/>
                <a:gd name="T74" fmla="*/ 314 w 443"/>
                <a:gd name="T75" fmla="*/ 697 h 728"/>
                <a:gd name="T76" fmla="*/ 301 w 443"/>
                <a:gd name="T77" fmla="*/ 691 h 728"/>
                <a:gd name="T78" fmla="*/ 289 w 443"/>
                <a:gd name="T79" fmla="*/ 686 h 728"/>
                <a:gd name="T80" fmla="*/ 240 w 443"/>
                <a:gd name="T81" fmla="*/ 659 h 728"/>
                <a:gd name="T82" fmla="*/ 229 w 443"/>
                <a:gd name="T83" fmla="*/ 651 h 728"/>
                <a:gd name="T84" fmla="*/ 217 w 443"/>
                <a:gd name="T85" fmla="*/ 643 h 728"/>
                <a:gd name="T86" fmla="*/ 206 w 443"/>
                <a:gd name="T87" fmla="*/ 635 h 728"/>
                <a:gd name="T88" fmla="*/ 196 w 443"/>
                <a:gd name="T89" fmla="*/ 627 h 728"/>
                <a:gd name="T90" fmla="*/ 185 w 443"/>
                <a:gd name="T91" fmla="*/ 619 h 728"/>
                <a:gd name="T92" fmla="*/ 175 w 443"/>
                <a:gd name="T93" fmla="*/ 610 h 728"/>
                <a:gd name="T94" fmla="*/ 165 w 443"/>
                <a:gd name="T95" fmla="*/ 601 h 728"/>
                <a:gd name="T96" fmla="*/ 144 w 443"/>
                <a:gd name="T97" fmla="*/ 580 h 728"/>
                <a:gd name="T98" fmla="*/ 134 w 443"/>
                <a:gd name="T99" fmla="*/ 570 h 728"/>
                <a:gd name="T100" fmla="*/ 124 w 443"/>
                <a:gd name="T101" fmla="*/ 559 h 728"/>
                <a:gd name="T102" fmla="*/ 115 w 443"/>
                <a:gd name="T103" fmla="*/ 548 h 728"/>
                <a:gd name="T104" fmla="*/ 107 w 443"/>
                <a:gd name="T105" fmla="*/ 538 h 728"/>
                <a:gd name="T106" fmla="*/ 99 w 443"/>
                <a:gd name="T107" fmla="*/ 527 h 728"/>
                <a:gd name="T108" fmla="*/ 91 w 443"/>
                <a:gd name="T109" fmla="*/ 516 h 728"/>
                <a:gd name="T110" fmla="*/ 83 w 443"/>
                <a:gd name="T111" fmla="*/ 504 h 728"/>
                <a:gd name="T112" fmla="*/ 76 w 443"/>
                <a:gd name="T113" fmla="*/ 492 h 728"/>
                <a:gd name="T114" fmla="*/ 61 w 443"/>
                <a:gd name="T115" fmla="*/ 46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3" h="728">
                  <a:moveTo>
                    <a:pt x="59" y="463"/>
                  </a:moveTo>
                  <a:cubicBezTo>
                    <a:pt x="57" y="460"/>
                    <a:pt x="56" y="457"/>
                    <a:pt x="54" y="454"/>
                  </a:cubicBezTo>
                  <a:cubicBezTo>
                    <a:pt x="53" y="452"/>
                    <a:pt x="53" y="451"/>
                    <a:pt x="52" y="449"/>
                  </a:cubicBezTo>
                  <a:cubicBezTo>
                    <a:pt x="50" y="446"/>
                    <a:pt x="49" y="443"/>
                    <a:pt x="47" y="440"/>
                  </a:cubicBezTo>
                  <a:cubicBezTo>
                    <a:pt x="47" y="438"/>
                    <a:pt x="46" y="437"/>
                    <a:pt x="45" y="435"/>
                  </a:cubicBezTo>
                  <a:cubicBezTo>
                    <a:pt x="43" y="431"/>
                    <a:pt x="41" y="427"/>
                    <a:pt x="40" y="422"/>
                  </a:cubicBezTo>
                  <a:cubicBezTo>
                    <a:pt x="39" y="422"/>
                    <a:pt x="39" y="422"/>
                    <a:pt x="39" y="422"/>
                  </a:cubicBezTo>
                  <a:cubicBezTo>
                    <a:pt x="38" y="417"/>
                    <a:pt x="36" y="413"/>
                    <a:pt x="34" y="408"/>
                  </a:cubicBezTo>
                  <a:cubicBezTo>
                    <a:pt x="33" y="407"/>
                    <a:pt x="33" y="405"/>
                    <a:pt x="32" y="404"/>
                  </a:cubicBezTo>
                  <a:cubicBezTo>
                    <a:pt x="31" y="401"/>
                    <a:pt x="30" y="398"/>
                    <a:pt x="29" y="394"/>
                  </a:cubicBezTo>
                  <a:cubicBezTo>
                    <a:pt x="28" y="393"/>
                    <a:pt x="28" y="391"/>
                    <a:pt x="27" y="390"/>
                  </a:cubicBezTo>
                  <a:cubicBezTo>
                    <a:pt x="26" y="386"/>
                    <a:pt x="25" y="383"/>
                    <a:pt x="24" y="380"/>
                  </a:cubicBezTo>
                  <a:cubicBezTo>
                    <a:pt x="23" y="378"/>
                    <a:pt x="23" y="377"/>
                    <a:pt x="23" y="375"/>
                  </a:cubicBezTo>
                  <a:cubicBezTo>
                    <a:pt x="21" y="371"/>
                    <a:pt x="20" y="366"/>
                    <a:pt x="19" y="362"/>
                  </a:cubicBezTo>
                  <a:cubicBezTo>
                    <a:pt x="18" y="362"/>
                    <a:pt x="18" y="362"/>
                    <a:pt x="18" y="362"/>
                  </a:cubicBezTo>
                  <a:cubicBezTo>
                    <a:pt x="17" y="357"/>
                    <a:pt x="16" y="352"/>
                    <a:pt x="15" y="347"/>
                  </a:cubicBezTo>
                  <a:cubicBezTo>
                    <a:pt x="14" y="346"/>
                    <a:pt x="14" y="345"/>
                    <a:pt x="14" y="343"/>
                  </a:cubicBezTo>
                  <a:cubicBezTo>
                    <a:pt x="13" y="340"/>
                    <a:pt x="12" y="337"/>
                    <a:pt x="11" y="333"/>
                  </a:cubicBezTo>
                  <a:cubicBezTo>
                    <a:pt x="11" y="332"/>
                    <a:pt x="11" y="330"/>
                    <a:pt x="10" y="329"/>
                  </a:cubicBezTo>
                  <a:cubicBezTo>
                    <a:pt x="10" y="325"/>
                    <a:pt x="9" y="322"/>
                    <a:pt x="8" y="319"/>
                  </a:cubicBezTo>
                  <a:cubicBezTo>
                    <a:pt x="8" y="317"/>
                    <a:pt x="8" y="316"/>
                    <a:pt x="8" y="314"/>
                  </a:cubicBezTo>
                  <a:cubicBezTo>
                    <a:pt x="7" y="310"/>
                    <a:pt x="6" y="305"/>
                    <a:pt x="5" y="300"/>
                  </a:cubicBezTo>
                  <a:cubicBezTo>
                    <a:pt x="5" y="300"/>
                    <a:pt x="5" y="300"/>
                    <a:pt x="5" y="300"/>
                  </a:cubicBezTo>
                  <a:cubicBezTo>
                    <a:pt x="5" y="295"/>
                    <a:pt x="4" y="291"/>
                    <a:pt x="3" y="286"/>
                  </a:cubicBezTo>
                  <a:cubicBezTo>
                    <a:pt x="3" y="285"/>
                    <a:pt x="3" y="283"/>
                    <a:pt x="3" y="282"/>
                  </a:cubicBezTo>
                  <a:cubicBezTo>
                    <a:pt x="3" y="278"/>
                    <a:pt x="2" y="275"/>
                    <a:pt x="2" y="271"/>
                  </a:cubicBezTo>
                  <a:cubicBezTo>
                    <a:pt x="2" y="270"/>
                    <a:pt x="2" y="268"/>
                    <a:pt x="2" y="267"/>
                  </a:cubicBezTo>
                  <a:cubicBezTo>
                    <a:pt x="1" y="263"/>
                    <a:pt x="1" y="260"/>
                    <a:pt x="1" y="257"/>
                  </a:cubicBezTo>
                  <a:cubicBezTo>
                    <a:pt x="1" y="255"/>
                    <a:pt x="1" y="254"/>
                    <a:pt x="1" y="252"/>
                  </a:cubicBezTo>
                  <a:cubicBezTo>
                    <a:pt x="0" y="248"/>
                    <a:pt x="0" y="243"/>
                    <a:pt x="0" y="238"/>
                  </a:cubicBezTo>
                  <a:cubicBezTo>
                    <a:pt x="0" y="238"/>
                    <a:pt x="0" y="238"/>
                    <a:pt x="0" y="238"/>
                  </a:cubicBezTo>
                  <a:cubicBezTo>
                    <a:pt x="0" y="233"/>
                    <a:pt x="0" y="229"/>
                    <a:pt x="0" y="224"/>
                  </a:cubicBezTo>
                  <a:cubicBezTo>
                    <a:pt x="0" y="223"/>
                    <a:pt x="0" y="221"/>
                    <a:pt x="0" y="220"/>
                  </a:cubicBezTo>
                  <a:cubicBezTo>
                    <a:pt x="0" y="217"/>
                    <a:pt x="0" y="213"/>
                    <a:pt x="0" y="210"/>
                  </a:cubicBezTo>
                  <a:cubicBezTo>
                    <a:pt x="0" y="208"/>
                    <a:pt x="0" y="207"/>
                    <a:pt x="0" y="205"/>
                  </a:cubicBezTo>
                  <a:cubicBezTo>
                    <a:pt x="0" y="202"/>
                    <a:pt x="0" y="198"/>
                    <a:pt x="1" y="195"/>
                  </a:cubicBezTo>
                  <a:cubicBezTo>
                    <a:pt x="1" y="193"/>
                    <a:pt x="1" y="192"/>
                    <a:pt x="1" y="191"/>
                  </a:cubicBezTo>
                  <a:cubicBezTo>
                    <a:pt x="2" y="181"/>
                    <a:pt x="2" y="172"/>
                    <a:pt x="4" y="162"/>
                  </a:cubicBezTo>
                  <a:cubicBezTo>
                    <a:pt x="4" y="161"/>
                    <a:pt x="4" y="160"/>
                    <a:pt x="4" y="159"/>
                  </a:cubicBezTo>
                  <a:cubicBezTo>
                    <a:pt x="4" y="155"/>
                    <a:pt x="5" y="152"/>
                    <a:pt x="6" y="148"/>
                  </a:cubicBezTo>
                  <a:cubicBezTo>
                    <a:pt x="6" y="147"/>
                    <a:pt x="6" y="145"/>
                    <a:pt x="6" y="144"/>
                  </a:cubicBezTo>
                  <a:cubicBezTo>
                    <a:pt x="7" y="140"/>
                    <a:pt x="7" y="137"/>
                    <a:pt x="8" y="133"/>
                  </a:cubicBezTo>
                  <a:cubicBezTo>
                    <a:pt x="8" y="132"/>
                    <a:pt x="8" y="131"/>
                    <a:pt x="9" y="130"/>
                  </a:cubicBezTo>
                  <a:cubicBezTo>
                    <a:pt x="10" y="120"/>
                    <a:pt x="12" y="111"/>
                    <a:pt x="15" y="102"/>
                  </a:cubicBezTo>
                  <a:cubicBezTo>
                    <a:pt x="15" y="101"/>
                    <a:pt x="15" y="100"/>
                    <a:pt x="15" y="99"/>
                  </a:cubicBezTo>
                  <a:cubicBezTo>
                    <a:pt x="16" y="95"/>
                    <a:pt x="17" y="92"/>
                    <a:pt x="18" y="88"/>
                  </a:cubicBezTo>
                  <a:cubicBezTo>
                    <a:pt x="19" y="87"/>
                    <a:pt x="19" y="85"/>
                    <a:pt x="19" y="84"/>
                  </a:cubicBezTo>
                  <a:cubicBezTo>
                    <a:pt x="20" y="81"/>
                    <a:pt x="21" y="77"/>
                    <a:pt x="22" y="74"/>
                  </a:cubicBezTo>
                  <a:cubicBezTo>
                    <a:pt x="23" y="73"/>
                    <a:pt x="23" y="71"/>
                    <a:pt x="24" y="70"/>
                  </a:cubicBezTo>
                  <a:cubicBezTo>
                    <a:pt x="26" y="61"/>
                    <a:pt x="30" y="52"/>
                    <a:pt x="33" y="43"/>
                  </a:cubicBezTo>
                  <a:cubicBezTo>
                    <a:pt x="33" y="42"/>
                    <a:pt x="34" y="41"/>
                    <a:pt x="34" y="41"/>
                  </a:cubicBezTo>
                  <a:cubicBezTo>
                    <a:pt x="35" y="37"/>
                    <a:pt x="37" y="33"/>
                    <a:pt x="38" y="30"/>
                  </a:cubicBezTo>
                  <a:cubicBezTo>
                    <a:pt x="39" y="29"/>
                    <a:pt x="39" y="27"/>
                    <a:pt x="40" y="26"/>
                  </a:cubicBezTo>
                  <a:cubicBezTo>
                    <a:pt x="41" y="23"/>
                    <a:pt x="43" y="20"/>
                    <a:pt x="44" y="16"/>
                  </a:cubicBezTo>
                  <a:cubicBezTo>
                    <a:pt x="44" y="15"/>
                    <a:pt x="45" y="14"/>
                    <a:pt x="45" y="13"/>
                  </a:cubicBezTo>
                  <a:cubicBezTo>
                    <a:pt x="47" y="9"/>
                    <a:pt x="49" y="4"/>
                    <a:pt x="51" y="0"/>
                  </a:cubicBezTo>
                  <a:cubicBezTo>
                    <a:pt x="51" y="0"/>
                    <a:pt x="51" y="0"/>
                    <a:pt x="51" y="0"/>
                  </a:cubicBezTo>
                  <a:cubicBezTo>
                    <a:pt x="51" y="0"/>
                    <a:pt x="99" y="93"/>
                    <a:pt x="125" y="84"/>
                  </a:cubicBezTo>
                  <a:cubicBezTo>
                    <a:pt x="151" y="75"/>
                    <a:pt x="195" y="36"/>
                    <a:pt x="239" y="79"/>
                  </a:cubicBezTo>
                  <a:cubicBezTo>
                    <a:pt x="284" y="121"/>
                    <a:pt x="295" y="83"/>
                    <a:pt x="339" y="99"/>
                  </a:cubicBezTo>
                  <a:cubicBezTo>
                    <a:pt x="382" y="114"/>
                    <a:pt x="443" y="123"/>
                    <a:pt x="426" y="217"/>
                  </a:cubicBezTo>
                  <a:cubicBezTo>
                    <a:pt x="409" y="312"/>
                    <a:pt x="340" y="280"/>
                    <a:pt x="336" y="310"/>
                  </a:cubicBezTo>
                  <a:cubicBezTo>
                    <a:pt x="331" y="341"/>
                    <a:pt x="389" y="366"/>
                    <a:pt x="377" y="436"/>
                  </a:cubicBezTo>
                  <a:cubicBezTo>
                    <a:pt x="364" y="507"/>
                    <a:pt x="313" y="504"/>
                    <a:pt x="314" y="556"/>
                  </a:cubicBezTo>
                  <a:cubicBezTo>
                    <a:pt x="316" y="607"/>
                    <a:pt x="296" y="622"/>
                    <a:pt x="343" y="660"/>
                  </a:cubicBezTo>
                  <a:cubicBezTo>
                    <a:pt x="374" y="685"/>
                    <a:pt x="401" y="706"/>
                    <a:pt x="418" y="728"/>
                  </a:cubicBezTo>
                  <a:cubicBezTo>
                    <a:pt x="400" y="725"/>
                    <a:pt x="383" y="720"/>
                    <a:pt x="365" y="715"/>
                  </a:cubicBezTo>
                  <a:cubicBezTo>
                    <a:pt x="365" y="715"/>
                    <a:pt x="365" y="715"/>
                    <a:pt x="365" y="715"/>
                  </a:cubicBezTo>
                  <a:cubicBezTo>
                    <a:pt x="361" y="714"/>
                    <a:pt x="357" y="713"/>
                    <a:pt x="353" y="711"/>
                  </a:cubicBezTo>
                  <a:cubicBezTo>
                    <a:pt x="352" y="711"/>
                    <a:pt x="352" y="711"/>
                    <a:pt x="352" y="711"/>
                  </a:cubicBezTo>
                  <a:cubicBezTo>
                    <a:pt x="348" y="710"/>
                    <a:pt x="344" y="708"/>
                    <a:pt x="341" y="707"/>
                  </a:cubicBezTo>
                  <a:cubicBezTo>
                    <a:pt x="340" y="707"/>
                    <a:pt x="339" y="706"/>
                    <a:pt x="338" y="706"/>
                  </a:cubicBezTo>
                  <a:cubicBezTo>
                    <a:pt x="335" y="705"/>
                    <a:pt x="332" y="704"/>
                    <a:pt x="328" y="702"/>
                  </a:cubicBezTo>
                  <a:cubicBezTo>
                    <a:pt x="327" y="702"/>
                    <a:pt x="327" y="702"/>
                    <a:pt x="326" y="702"/>
                  </a:cubicBezTo>
                  <a:cubicBezTo>
                    <a:pt x="323" y="700"/>
                    <a:pt x="319" y="699"/>
                    <a:pt x="316" y="697"/>
                  </a:cubicBezTo>
                  <a:cubicBezTo>
                    <a:pt x="315" y="697"/>
                    <a:pt x="314" y="697"/>
                    <a:pt x="314" y="697"/>
                  </a:cubicBezTo>
                  <a:cubicBezTo>
                    <a:pt x="310" y="695"/>
                    <a:pt x="307" y="694"/>
                    <a:pt x="303" y="692"/>
                  </a:cubicBezTo>
                  <a:cubicBezTo>
                    <a:pt x="303" y="692"/>
                    <a:pt x="302" y="692"/>
                    <a:pt x="301" y="691"/>
                  </a:cubicBezTo>
                  <a:cubicBezTo>
                    <a:pt x="298" y="690"/>
                    <a:pt x="294" y="688"/>
                    <a:pt x="291" y="686"/>
                  </a:cubicBezTo>
                  <a:cubicBezTo>
                    <a:pt x="290" y="686"/>
                    <a:pt x="290" y="686"/>
                    <a:pt x="289" y="686"/>
                  </a:cubicBezTo>
                  <a:cubicBezTo>
                    <a:pt x="273" y="678"/>
                    <a:pt x="258" y="669"/>
                    <a:pt x="243" y="660"/>
                  </a:cubicBezTo>
                  <a:cubicBezTo>
                    <a:pt x="242" y="660"/>
                    <a:pt x="241" y="659"/>
                    <a:pt x="240" y="659"/>
                  </a:cubicBezTo>
                  <a:cubicBezTo>
                    <a:pt x="237" y="657"/>
                    <a:pt x="234" y="655"/>
                    <a:pt x="231" y="653"/>
                  </a:cubicBezTo>
                  <a:cubicBezTo>
                    <a:pt x="231" y="652"/>
                    <a:pt x="230" y="652"/>
                    <a:pt x="229" y="651"/>
                  </a:cubicBezTo>
                  <a:cubicBezTo>
                    <a:pt x="226" y="649"/>
                    <a:pt x="223" y="647"/>
                    <a:pt x="221" y="646"/>
                  </a:cubicBezTo>
                  <a:cubicBezTo>
                    <a:pt x="219" y="645"/>
                    <a:pt x="218" y="644"/>
                    <a:pt x="217" y="643"/>
                  </a:cubicBezTo>
                  <a:cubicBezTo>
                    <a:pt x="215" y="642"/>
                    <a:pt x="212" y="640"/>
                    <a:pt x="210" y="638"/>
                  </a:cubicBezTo>
                  <a:cubicBezTo>
                    <a:pt x="209" y="637"/>
                    <a:pt x="208" y="636"/>
                    <a:pt x="206" y="635"/>
                  </a:cubicBezTo>
                  <a:cubicBezTo>
                    <a:pt x="204" y="634"/>
                    <a:pt x="202" y="632"/>
                    <a:pt x="199" y="630"/>
                  </a:cubicBezTo>
                  <a:cubicBezTo>
                    <a:pt x="198" y="629"/>
                    <a:pt x="197" y="628"/>
                    <a:pt x="196" y="627"/>
                  </a:cubicBezTo>
                  <a:cubicBezTo>
                    <a:pt x="193" y="625"/>
                    <a:pt x="191" y="624"/>
                    <a:pt x="189" y="622"/>
                  </a:cubicBezTo>
                  <a:cubicBezTo>
                    <a:pt x="188" y="621"/>
                    <a:pt x="186" y="620"/>
                    <a:pt x="185" y="619"/>
                  </a:cubicBezTo>
                  <a:cubicBezTo>
                    <a:pt x="183" y="617"/>
                    <a:pt x="181" y="615"/>
                    <a:pt x="178" y="613"/>
                  </a:cubicBezTo>
                  <a:cubicBezTo>
                    <a:pt x="177" y="612"/>
                    <a:pt x="176" y="611"/>
                    <a:pt x="175" y="610"/>
                  </a:cubicBezTo>
                  <a:cubicBezTo>
                    <a:pt x="173" y="608"/>
                    <a:pt x="170" y="606"/>
                    <a:pt x="167" y="603"/>
                  </a:cubicBezTo>
                  <a:cubicBezTo>
                    <a:pt x="167" y="603"/>
                    <a:pt x="166" y="602"/>
                    <a:pt x="165" y="601"/>
                  </a:cubicBezTo>
                  <a:cubicBezTo>
                    <a:pt x="159" y="595"/>
                    <a:pt x="152" y="589"/>
                    <a:pt x="146" y="583"/>
                  </a:cubicBezTo>
                  <a:cubicBezTo>
                    <a:pt x="145" y="582"/>
                    <a:pt x="144" y="581"/>
                    <a:pt x="144" y="580"/>
                  </a:cubicBezTo>
                  <a:cubicBezTo>
                    <a:pt x="141" y="578"/>
                    <a:pt x="139" y="575"/>
                    <a:pt x="137" y="573"/>
                  </a:cubicBezTo>
                  <a:cubicBezTo>
                    <a:pt x="136" y="572"/>
                    <a:pt x="135" y="571"/>
                    <a:pt x="134" y="570"/>
                  </a:cubicBezTo>
                  <a:cubicBezTo>
                    <a:pt x="132" y="567"/>
                    <a:pt x="130" y="565"/>
                    <a:pt x="128" y="563"/>
                  </a:cubicBezTo>
                  <a:cubicBezTo>
                    <a:pt x="127" y="562"/>
                    <a:pt x="125" y="560"/>
                    <a:pt x="124" y="559"/>
                  </a:cubicBezTo>
                  <a:cubicBezTo>
                    <a:pt x="123" y="557"/>
                    <a:pt x="121" y="555"/>
                    <a:pt x="119" y="553"/>
                  </a:cubicBezTo>
                  <a:cubicBezTo>
                    <a:pt x="118" y="551"/>
                    <a:pt x="117" y="550"/>
                    <a:pt x="115" y="548"/>
                  </a:cubicBezTo>
                  <a:cubicBezTo>
                    <a:pt x="114" y="546"/>
                    <a:pt x="112" y="544"/>
                    <a:pt x="110" y="542"/>
                  </a:cubicBezTo>
                  <a:cubicBezTo>
                    <a:pt x="109" y="541"/>
                    <a:pt x="108" y="539"/>
                    <a:pt x="107" y="538"/>
                  </a:cubicBezTo>
                  <a:cubicBezTo>
                    <a:pt x="105" y="536"/>
                    <a:pt x="104" y="533"/>
                    <a:pt x="102" y="531"/>
                  </a:cubicBezTo>
                  <a:cubicBezTo>
                    <a:pt x="101" y="530"/>
                    <a:pt x="100" y="528"/>
                    <a:pt x="99" y="527"/>
                  </a:cubicBezTo>
                  <a:cubicBezTo>
                    <a:pt x="97" y="525"/>
                    <a:pt x="96" y="522"/>
                    <a:pt x="94" y="520"/>
                  </a:cubicBezTo>
                  <a:cubicBezTo>
                    <a:pt x="93" y="519"/>
                    <a:pt x="92" y="517"/>
                    <a:pt x="91" y="516"/>
                  </a:cubicBezTo>
                  <a:cubicBezTo>
                    <a:pt x="89" y="513"/>
                    <a:pt x="88" y="511"/>
                    <a:pt x="86" y="509"/>
                  </a:cubicBezTo>
                  <a:cubicBezTo>
                    <a:pt x="85" y="507"/>
                    <a:pt x="84" y="506"/>
                    <a:pt x="83" y="504"/>
                  </a:cubicBezTo>
                  <a:cubicBezTo>
                    <a:pt x="81" y="502"/>
                    <a:pt x="80" y="499"/>
                    <a:pt x="78" y="496"/>
                  </a:cubicBezTo>
                  <a:cubicBezTo>
                    <a:pt x="77" y="495"/>
                    <a:pt x="76" y="494"/>
                    <a:pt x="76" y="492"/>
                  </a:cubicBezTo>
                  <a:cubicBezTo>
                    <a:pt x="73" y="488"/>
                    <a:pt x="71" y="484"/>
                    <a:pt x="68" y="480"/>
                  </a:cubicBezTo>
                  <a:cubicBezTo>
                    <a:pt x="66" y="476"/>
                    <a:pt x="64" y="472"/>
                    <a:pt x="61" y="467"/>
                  </a:cubicBezTo>
                  <a:cubicBezTo>
                    <a:pt x="60" y="466"/>
                    <a:pt x="60" y="464"/>
                    <a:pt x="59" y="46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02" name="Freeform 45"/>
            <p:cNvSpPr>
              <a:spLocks/>
            </p:cNvSpPr>
            <p:nvPr userDrawn="1"/>
          </p:nvSpPr>
          <p:spPr bwMode="auto">
            <a:xfrm>
              <a:off x="8558213" y="2481263"/>
              <a:ext cx="663575" cy="1031875"/>
            </a:xfrm>
            <a:custGeom>
              <a:avLst/>
              <a:gdLst>
                <a:gd name="T0" fmla="*/ 54 w 418"/>
                <a:gd name="T1" fmla="*/ 376 h 650"/>
                <a:gd name="T2" fmla="*/ 47 w 418"/>
                <a:gd name="T3" fmla="*/ 362 h 650"/>
                <a:gd name="T4" fmla="*/ 39 w 418"/>
                <a:gd name="T5" fmla="*/ 343 h 650"/>
                <a:gd name="T6" fmla="*/ 29 w 418"/>
                <a:gd name="T7" fmla="*/ 316 h 650"/>
                <a:gd name="T8" fmla="*/ 24 w 418"/>
                <a:gd name="T9" fmla="*/ 302 h 650"/>
                <a:gd name="T10" fmla="*/ 19 w 418"/>
                <a:gd name="T11" fmla="*/ 287 h 650"/>
                <a:gd name="T12" fmla="*/ 15 w 418"/>
                <a:gd name="T13" fmla="*/ 268 h 650"/>
                <a:gd name="T14" fmla="*/ 11 w 418"/>
                <a:gd name="T15" fmla="*/ 251 h 650"/>
                <a:gd name="T16" fmla="*/ 8 w 418"/>
                <a:gd name="T17" fmla="*/ 238 h 650"/>
                <a:gd name="T18" fmla="*/ 5 w 418"/>
                <a:gd name="T19" fmla="*/ 219 h 650"/>
                <a:gd name="T20" fmla="*/ 3 w 418"/>
                <a:gd name="T21" fmla="*/ 204 h 650"/>
                <a:gd name="T22" fmla="*/ 2 w 418"/>
                <a:gd name="T23" fmla="*/ 189 h 650"/>
                <a:gd name="T24" fmla="*/ 0 w 418"/>
                <a:gd name="T25" fmla="*/ 171 h 650"/>
                <a:gd name="T26" fmla="*/ 0 w 418"/>
                <a:gd name="T27" fmla="*/ 148 h 650"/>
                <a:gd name="T28" fmla="*/ 0 w 418"/>
                <a:gd name="T29" fmla="*/ 127 h 650"/>
                <a:gd name="T30" fmla="*/ 1 w 418"/>
                <a:gd name="T31" fmla="*/ 113 h 650"/>
                <a:gd name="T32" fmla="*/ 3 w 418"/>
                <a:gd name="T33" fmla="*/ 86 h 650"/>
                <a:gd name="T34" fmla="*/ 6 w 418"/>
                <a:gd name="T35" fmla="*/ 65 h 650"/>
                <a:gd name="T36" fmla="*/ 11 w 418"/>
                <a:gd name="T37" fmla="*/ 40 h 650"/>
                <a:gd name="T38" fmla="*/ 16 w 418"/>
                <a:gd name="T39" fmla="*/ 18 h 650"/>
                <a:gd name="T40" fmla="*/ 21 w 418"/>
                <a:gd name="T41" fmla="*/ 0 h 650"/>
                <a:gd name="T42" fmla="*/ 314 w 418"/>
                <a:gd name="T43" fmla="*/ 478 h 650"/>
                <a:gd name="T44" fmla="*/ 366 w 418"/>
                <a:gd name="T45" fmla="*/ 637 h 650"/>
                <a:gd name="T46" fmla="*/ 353 w 418"/>
                <a:gd name="T47" fmla="*/ 633 h 650"/>
                <a:gd name="T48" fmla="*/ 338 w 418"/>
                <a:gd name="T49" fmla="*/ 628 h 650"/>
                <a:gd name="T50" fmla="*/ 316 w 418"/>
                <a:gd name="T51" fmla="*/ 619 h 650"/>
                <a:gd name="T52" fmla="*/ 303 w 418"/>
                <a:gd name="T53" fmla="*/ 614 h 650"/>
                <a:gd name="T54" fmla="*/ 291 w 418"/>
                <a:gd name="T55" fmla="*/ 608 h 650"/>
                <a:gd name="T56" fmla="*/ 242 w 418"/>
                <a:gd name="T57" fmla="*/ 581 h 650"/>
                <a:gd name="T58" fmla="*/ 229 w 418"/>
                <a:gd name="T59" fmla="*/ 573 h 650"/>
                <a:gd name="T60" fmla="*/ 217 w 418"/>
                <a:gd name="T61" fmla="*/ 565 h 650"/>
                <a:gd name="T62" fmla="*/ 199 w 418"/>
                <a:gd name="T63" fmla="*/ 552 h 650"/>
                <a:gd name="T64" fmla="*/ 186 w 418"/>
                <a:gd name="T65" fmla="*/ 542 h 650"/>
                <a:gd name="T66" fmla="*/ 175 w 418"/>
                <a:gd name="T67" fmla="*/ 532 h 650"/>
                <a:gd name="T68" fmla="*/ 146 w 418"/>
                <a:gd name="T69" fmla="*/ 505 h 650"/>
                <a:gd name="T70" fmla="*/ 135 w 418"/>
                <a:gd name="T71" fmla="*/ 493 h 650"/>
                <a:gd name="T72" fmla="*/ 124 w 418"/>
                <a:gd name="T73" fmla="*/ 481 h 650"/>
                <a:gd name="T74" fmla="*/ 110 w 418"/>
                <a:gd name="T75" fmla="*/ 464 h 650"/>
                <a:gd name="T76" fmla="*/ 99 w 418"/>
                <a:gd name="T77" fmla="*/ 449 h 650"/>
                <a:gd name="T78" fmla="*/ 91 w 418"/>
                <a:gd name="T79" fmla="*/ 438 h 650"/>
                <a:gd name="T80" fmla="*/ 83 w 418"/>
                <a:gd name="T81" fmla="*/ 426 h 650"/>
                <a:gd name="T82" fmla="*/ 68 w 418"/>
                <a:gd name="T83" fmla="*/ 402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650">
                  <a:moveTo>
                    <a:pt x="60" y="387"/>
                  </a:moveTo>
                  <a:cubicBezTo>
                    <a:pt x="60" y="386"/>
                    <a:pt x="59" y="385"/>
                    <a:pt x="59" y="385"/>
                  </a:cubicBezTo>
                  <a:cubicBezTo>
                    <a:pt x="57" y="382"/>
                    <a:pt x="56" y="379"/>
                    <a:pt x="54" y="376"/>
                  </a:cubicBezTo>
                  <a:cubicBezTo>
                    <a:pt x="54" y="375"/>
                    <a:pt x="54" y="375"/>
                    <a:pt x="53" y="374"/>
                  </a:cubicBezTo>
                  <a:cubicBezTo>
                    <a:pt x="53" y="373"/>
                    <a:pt x="52" y="372"/>
                    <a:pt x="52" y="371"/>
                  </a:cubicBezTo>
                  <a:cubicBezTo>
                    <a:pt x="50" y="368"/>
                    <a:pt x="49" y="365"/>
                    <a:pt x="47" y="362"/>
                  </a:cubicBezTo>
                  <a:cubicBezTo>
                    <a:pt x="47" y="360"/>
                    <a:pt x="46" y="358"/>
                    <a:pt x="45" y="357"/>
                  </a:cubicBezTo>
                  <a:cubicBezTo>
                    <a:pt x="44" y="354"/>
                    <a:pt x="42" y="350"/>
                    <a:pt x="41" y="347"/>
                  </a:cubicBezTo>
                  <a:cubicBezTo>
                    <a:pt x="40" y="346"/>
                    <a:pt x="40" y="344"/>
                    <a:pt x="39" y="343"/>
                  </a:cubicBezTo>
                  <a:cubicBezTo>
                    <a:pt x="37" y="339"/>
                    <a:pt x="36" y="334"/>
                    <a:pt x="34" y="330"/>
                  </a:cubicBezTo>
                  <a:cubicBezTo>
                    <a:pt x="33" y="329"/>
                    <a:pt x="33" y="327"/>
                    <a:pt x="32" y="326"/>
                  </a:cubicBezTo>
                  <a:cubicBezTo>
                    <a:pt x="31" y="323"/>
                    <a:pt x="30" y="320"/>
                    <a:pt x="29" y="316"/>
                  </a:cubicBezTo>
                  <a:cubicBezTo>
                    <a:pt x="28" y="315"/>
                    <a:pt x="28" y="314"/>
                    <a:pt x="28" y="313"/>
                  </a:cubicBezTo>
                  <a:cubicBezTo>
                    <a:pt x="27" y="312"/>
                    <a:pt x="27" y="311"/>
                    <a:pt x="27" y="310"/>
                  </a:cubicBezTo>
                  <a:cubicBezTo>
                    <a:pt x="26" y="308"/>
                    <a:pt x="25" y="305"/>
                    <a:pt x="24" y="302"/>
                  </a:cubicBezTo>
                  <a:cubicBezTo>
                    <a:pt x="24" y="301"/>
                    <a:pt x="24" y="301"/>
                    <a:pt x="24" y="301"/>
                  </a:cubicBezTo>
                  <a:cubicBezTo>
                    <a:pt x="23" y="299"/>
                    <a:pt x="23" y="297"/>
                    <a:pt x="22" y="296"/>
                  </a:cubicBezTo>
                  <a:cubicBezTo>
                    <a:pt x="21" y="293"/>
                    <a:pt x="20" y="290"/>
                    <a:pt x="19" y="287"/>
                  </a:cubicBezTo>
                  <a:cubicBezTo>
                    <a:pt x="19" y="285"/>
                    <a:pt x="18" y="283"/>
                    <a:pt x="18" y="282"/>
                  </a:cubicBezTo>
                  <a:cubicBezTo>
                    <a:pt x="17" y="278"/>
                    <a:pt x="16" y="275"/>
                    <a:pt x="15" y="272"/>
                  </a:cubicBezTo>
                  <a:cubicBezTo>
                    <a:pt x="15" y="271"/>
                    <a:pt x="15" y="270"/>
                    <a:pt x="15" y="268"/>
                  </a:cubicBezTo>
                  <a:cubicBezTo>
                    <a:pt x="14" y="267"/>
                    <a:pt x="14" y="266"/>
                    <a:pt x="14" y="265"/>
                  </a:cubicBezTo>
                  <a:cubicBezTo>
                    <a:pt x="13" y="262"/>
                    <a:pt x="12" y="259"/>
                    <a:pt x="11" y="255"/>
                  </a:cubicBezTo>
                  <a:cubicBezTo>
                    <a:pt x="11" y="254"/>
                    <a:pt x="11" y="252"/>
                    <a:pt x="11" y="251"/>
                  </a:cubicBezTo>
                  <a:cubicBezTo>
                    <a:pt x="10" y="250"/>
                    <a:pt x="10" y="250"/>
                    <a:pt x="10" y="250"/>
                  </a:cubicBezTo>
                  <a:cubicBezTo>
                    <a:pt x="10" y="247"/>
                    <a:pt x="9" y="244"/>
                    <a:pt x="8" y="241"/>
                  </a:cubicBezTo>
                  <a:cubicBezTo>
                    <a:pt x="8" y="240"/>
                    <a:pt x="8" y="239"/>
                    <a:pt x="8" y="238"/>
                  </a:cubicBezTo>
                  <a:cubicBezTo>
                    <a:pt x="8" y="237"/>
                    <a:pt x="8" y="235"/>
                    <a:pt x="7" y="234"/>
                  </a:cubicBezTo>
                  <a:cubicBezTo>
                    <a:pt x="7" y="231"/>
                    <a:pt x="6" y="228"/>
                    <a:pt x="6" y="225"/>
                  </a:cubicBezTo>
                  <a:cubicBezTo>
                    <a:pt x="6" y="223"/>
                    <a:pt x="5" y="221"/>
                    <a:pt x="5" y="219"/>
                  </a:cubicBezTo>
                  <a:cubicBezTo>
                    <a:pt x="5" y="216"/>
                    <a:pt x="4" y="213"/>
                    <a:pt x="4" y="210"/>
                  </a:cubicBezTo>
                  <a:cubicBezTo>
                    <a:pt x="4" y="209"/>
                    <a:pt x="3" y="207"/>
                    <a:pt x="3" y="205"/>
                  </a:cubicBezTo>
                  <a:cubicBezTo>
                    <a:pt x="3" y="205"/>
                    <a:pt x="3" y="204"/>
                    <a:pt x="3" y="204"/>
                  </a:cubicBezTo>
                  <a:cubicBezTo>
                    <a:pt x="3" y="201"/>
                    <a:pt x="2" y="198"/>
                    <a:pt x="2" y="195"/>
                  </a:cubicBezTo>
                  <a:cubicBezTo>
                    <a:pt x="2" y="194"/>
                    <a:pt x="2" y="193"/>
                    <a:pt x="2" y="192"/>
                  </a:cubicBezTo>
                  <a:cubicBezTo>
                    <a:pt x="2" y="191"/>
                    <a:pt x="2" y="190"/>
                    <a:pt x="2" y="189"/>
                  </a:cubicBezTo>
                  <a:cubicBezTo>
                    <a:pt x="1" y="185"/>
                    <a:pt x="1" y="182"/>
                    <a:pt x="1" y="179"/>
                  </a:cubicBezTo>
                  <a:cubicBezTo>
                    <a:pt x="1" y="177"/>
                    <a:pt x="1" y="176"/>
                    <a:pt x="1" y="175"/>
                  </a:cubicBezTo>
                  <a:cubicBezTo>
                    <a:pt x="1" y="174"/>
                    <a:pt x="0" y="173"/>
                    <a:pt x="0" y="171"/>
                  </a:cubicBezTo>
                  <a:cubicBezTo>
                    <a:pt x="0" y="168"/>
                    <a:pt x="0" y="165"/>
                    <a:pt x="0" y="162"/>
                  </a:cubicBezTo>
                  <a:cubicBezTo>
                    <a:pt x="0" y="160"/>
                    <a:pt x="0" y="158"/>
                    <a:pt x="0" y="156"/>
                  </a:cubicBezTo>
                  <a:cubicBezTo>
                    <a:pt x="0" y="153"/>
                    <a:pt x="0" y="151"/>
                    <a:pt x="0" y="148"/>
                  </a:cubicBezTo>
                  <a:cubicBezTo>
                    <a:pt x="0" y="146"/>
                    <a:pt x="0" y="144"/>
                    <a:pt x="0" y="141"/>
                  </a:cubicBezTo>
                  <a:cubicBezTo>
                    <a:pt x="0" y="139"/>
                    <a:pt x="0" y="136"/>
                    <a:pt x="0" y="134"/>
                  </a:cubicBezTo>
                  <a:cubicBezTo>
                    <a:pt x="0" y="131"/>
                    <a:pt x="0" y="129"/>
                    <a:pt x="0" y="127"/>
                  </a:cubicBezTo>
                  <a:cubicBezTo>
                    <a:pt x="0" y="124"/>
                    <a:pt x="0" y="122"/>
                    <a:pt x="1" y="119"/>
                  </a:cubicBezTo>
                  <a:cubicBezTo>
                    <a:pt x="1" y="117"/>
                    <a:pt x="1" y="115"/>
                    <a:pt x="1" y="114"/>
                  </a:cubicBezTo>
                  <a:cubicBezTo>
                    <a:pt x="1" y="113"/>
                    <a:pt x="1" y="113"/>
                    <a:pt x="1" y="113"/>
                  </a:cubicBezTo>
                  <a:cubicBezTo>
                    <a:pt x="1" y="108"/>
                    <a:pt x="2" y="104"/>
                    <a:pt x="2" y="99"/>
                  </a:cubicBezTo>
                  <a:cubicBezTo>
                    <a:pt x="2" y="98"/>
                    <a:pt x="2" y="97"/>
                    <a:pt x="2" y="96"/>
                  </a:cubicBezTo>
                  <a:cubicBezTo>
                    <a:pt x="3" y="92"/>
                    <a:pt x="3" y="89"/>
                    <a:pt x="3" y="86"/>
                  </a:cubicBezTo>
                  <a:cubicBezTo>
                    <a:pt x="4" y="83"/>
                    <a:pt x="4" y="81"/>
                    <a:pt x="4" y="79"/>
                  </a:cubicBezTo>
                  <a:cubicBezTo>
                    <a:pt x="5" y="76"/>
                    <a:pt x="5" y="74"/>
                    <a:pt x="5" y="72"/>
                  </a:cubicBezTo>
                  <a:cubicBezTo>
                    <a:pt x="6" y="69"/>
                    <a:pt x="6" y="67"/>
                    <a:pt x="6" y="65"/>
                  </a:cubicBezTo>
                  <a:cubicBezTo>
                    <a:pt x="7" y="62"/>
                    <a:pt x="7" y="60"/>
                    <a:pt x="8" y="57"/>
                  </a:cubicBezTo>
                  <a:cubicBezTo>
                    <a:pt x="8" y="55"/>
                    <a:pt x="8" y="53"/>
                    <a:pt x="9" y="51"/>
                  </a:cubicBezTo>
                  <a:cubicBezTo>
                    <a:pt x="9" y="47"/>
                    <a:pt x="10" y="44"/>
                    <a:pt x="11" y="40"/>
                  </a:cubicBezTo>
                  <a:cubicBezTo>
                    <a:pt x="11" y="39"/>
                    <a:pt x="11" y="38"/>
                    <a:pt x="12" y="37"/>
                  </a:cubicBezTo>
                  <a:cubicBezTo>
                    <a:pt x="13" y="33"/>
                    <a:pt x="14" y="29"/>
                    <a:pt x="15" y="24"/>
                  </a:cubicBezTo>
                  <a:cubicBezTo>
                    <a:pt x="15" y="22"/>
                    <a:pt x="16" y="20"/>
                    <a:pt x="16" y="18"/>
                  </a:cubicBezTo>
                  <a:cubicBezTo>
                    <a:pt x="17" y="16"/>
                    <a:pt x="17" y="13"/>
                    <a:pt x="18" y="10"/>
                  </a:cubicBezTo>
                  <a:cubicBezTo>
                    <a:pt x="19" y="8"/>
                    <a:pt x="19" y="6"/>
                    <a:pt x="20" y="4"/>
                  </a:cubicBezTo>
                  <a:cubicBezTo>
                    <a:pt x="20" y="3"/>
                    <a:pt x="21" y="1"/>
                    <a:pt x="21" y="0"/>
                  </a:cubicBezTo>
                  <a:cubicBezTo>
                    <a:pt x="23" y="82"/>
                    <a:pt x="46" y="165"/>
                    <a:pt x="90" y="242"/>
                  </a:cubicBezTo>
                  <a:cubicBezTo>
                    <a:pt x="145" y="338"/>
                    <a:pt x="226" y="409"/>
                    <a:pt x="320" y="451"/>
                  </a:cubicBezTo>
                  <a:cubicBezTo>
                    <a:pt x="316" y="459"/>
                    <a:pt x="314" y="467"/>
                    <a:pt x="314" y="478"/>
                  </a:cubicBezTo>
                  <a:cubicBezTo>
                    <a:pt x="316" y="529"/>
                    <a:pt x="296" y="544"/>
                    <a:pt x="343" y="582"/>
                  </a:cubicBezTo>
                  <a:cubicBezTo>
                    <a:pt x="374" y="607"/>
                    <a:pt x="401" y="628"/>
                    <a:pt x="418" y="650"/>
                  </a:cubicBezTo>
                  <a:cubicBezTo>
                    <a:pt x="400" y="647"/>
                    <a:pt x="383" y="642"/>
                    <a:pt x="366" y="637"/>
                  </a:cubicBezTo>
                  <a:cubicBezTo>
                    <a:pt x="365" y="637"/>
                    <a:pt x="365" y="637"/>
                    <a:pt x="365" y="637"/>
                  </a:cubicBezTo>
                  <a:cubicBezTo>
                    <a:pt x="365" y="637"/>
                    <a:pt x="365" y="637"/>
                    <a:pt x="365" y="637"/>
                  </a:cubicBezTo>
                  <a:cubicBezTo>
                    <a:pt x="361" y="636"/>
                    <a:pt x="357" y="635"/>
                    <a:pt x="353" y="633"/>
                  </a:cubicBezTo>
                  <a:cubicBezTo>
                    <a:pt x="353" y="633"/>
                    <a:pt x="352" y="633"/>
                    <a:pt x="352" y="633"/>
                  </a:cubicBezTo>
                  <a:cubicBezTo>
                    <a:pt x="348" y="632"/>
                    <a:pt x="344" y="630"/>
                    <a:pt x="341" y="629"/>
                  </a:cubicBezTo>
                  <a:cubicBezTo>
                    <a:pt x="340" y="629"/>
                    <a:pt x="339" y="628"/>
                    <a:pt x="338" y="628"/>
                  </a:cubicBezTo>
                  <a:cubicBezTo>
                    <a:pt x="335" y="627"/>
                    <a:pt x="332" y="626"/>
                    <a:pt x="328" y="624"/>
                  </a:cubicBezTo>
                  <a:cubicBezTo>
                    <a:pt x="327" y="624"/>
                    <a:pt x="327" y="624"/>
                    <a:pt x="326" y="624"/>
                  </a:cubicBezTo>
                  <a:cubicBezTo>
                    <a:pt x="323" y="622"/>
                    <a:pt x="319" y="621"/>
                    <a:pt x="316" y="619"/>
                  </a:cubicBezTo>
                  <a:cubicBezTo>
                    <a:pt x="316" y="619"/>
                    <a:pt x="315" y="619"/>
                    <a:pt x="315" y="619"/>
                  </a:cubicBezTo>
                  <a:cubicBezTo>
                    <a:pt x="314" y="619"/>
                    <a:pt x="314" y="619"/>
                    <a:pt x="314" y="619"/>
                  </a:cubicBezTo>
                  <a:cubicBezTo>
                    <a:pt x="310" y="617"/>
                    <a:pt x="307" y="616"/>
                    <a:pt x="303" y="614"/>
                  </a:cubicBezTo>
                  <a:cubicBezTo>
                    <a:pt x="303" y="614"/>
                    <a:pt x="302" y="614"/>
                    <a:pt x="302" y="613"/>
                  </a:cubicBezTo>
                  <a:cubicBezTo>
                    <a:pt x="301" y="613"/>
                    <a:pt x="301" y="613"/>
                    <a:pt x="301" y="613"/>
                  </a:cubicBezTo>
                  <a:cubicBezTo>
                    <a:pt x="298" y="612"/>
                    <a:pt x="294" y="610"/>
                    <a:pt x="291" y="608"/>
                  </a:cubicBezTo>
                  <a:cubicBezTo>
                    <a:pt x="290" y="608"/>
                    <a:pt x="290" y="608"/>
                    <a:pt x="289" y="608"/>
                  </a:cubicBezTo>
                  <a:cubicBezTo>
                    <a:pt x="273" y="600"/>
                    <a:pt x="258" y="591"/>
                    <a:pt x="243" y="582"/>
                  </a:cubicBezTo>
                  <a:cubicBezTo>
                    <a:pt x="242" y="581"/>
                    <a:pt x="242" y="581"/>
                    <a:pt x="242" y="581"/>
                  </a:cubicBezTo>
                  <a:cubicBezTo>
                    <a:pt x="241" y="581"/>
                    <a:pt x="241" y="581"/>
                    <a:pt x="240" y="581"/>
                  </a:cubicBezTo>
                  <a:cubicBezTo>
                    <a:pt x="237" y="579"/>
                    <a:pt x="234" y="577"/>
                    <a:pt x="231" y="575"/>
                  </a:cubicBezTo>
                  <a:cubicBezTo>
                    <a:pt x="231" y="574"/>
                    <a:pt x="230" y="574"/>
                    <a:pt x="229" y="573"/>
                  </a:cubicBezTo>
                  <a:cubicBezTo>
                    <a:pt x="226" y="571"/>
                    <a:pt x="223" y="569"/>
                    <a:pt x="221" y="568"/>
                  </a:cubicBezTo>
                  <a:cubicBezTo>
                    <a:pt x="220" y="567"/>
                    <a:pt x="220" y="567"/>
                    <a:pt x="220" y="567"/>
                  </a:cubicBezTo>
                  <a:cubicBezTo>
                    <a:pt x="219" y="567"/>
                    <a:pt x="218" y="566"/>
                    <a:pt x="217" y="565"/>
                  </a:cubicBezTo>
                  <a:cubicBezTo>
                    <a:pt x="215" y="564"/>
                    <a:pt x="212" y="562"/>
                    <a:pt x="210" y="560"/>
                  </a:cubicBezTo>
                  <a:cubicBezTo>
                    <a:pt x="209" y="559"/>
                    <a:pt x="208" y="558"/>
                    <a:pt x="206" y="557"/>
                  </a:cubicBezTo>
                  <a:cubicBezTo>
                    <a:pt x="204" y="556"/>
                    <a:pt x="202" y="554"/>
                    <a:pt x="199" y="552"/>
                  </a:cubicBezTo>
                  <a:cubicBezTo>
                    <a:pt x="198" y="551"/>
                    <a:pt x="197" y="550"/>
                    <a:pt x="196" y="549"/>
                  </a:cubicBezTo>
                  <a:cubicBezTo>
                    <a:pt x="193" y="547"/>
                    <a:pt x="191" y="546"/>
                    <a:pt x="189" y="544"/>
                  </a:cubicBezTo>
                  <a:cubicBezTo>
                    <a:pt x="188" y="543"/>
                    <a:pt x="187" y="542"/>
                    <a:pt x="186" y="542"/>
                  </a:cubicBezTo>
                  <a:cubicBezTo>
                    <a:pt x="185" y="541"/>
                    <a:pt x="185" y="541"/>
                    <a:pt x="185" y="541"/>
                  </a:cubicBezTo>
                  <a:cubicBezTo>
                    <a:pt x="183" y="539"/>
                    <a:pt x="181" y="537"/>
                    <a:pt x="178" y="535"/>
                  </a:cubicBezTo>
                  <a:cubicBezTo>
                    <a:pt x="177" y="534"/>
                    <a:pt x="176" y="533"/>
                    <a:pt x="175" y="532"/>
                  </a:cubicBezTo>
                  <a:cubicBezTo>
                    <a:pt x="173" y="530"/>
                    <a:pt x="170" y="528"/>
                    <a:pt x="167" y="525"/>
                  </a:cubicBezTo>
                  <a:cubicBezTo>
                    <a:pt x="167" y="525"/>
                    <a:pt x="166" y="524"/>
                    <a:pt x="165" y="523"/>
                  </a:cubicBezTo>
                  <a:cubicBezTo>
                    <a:pt x="159" y="517"/>
                    <a:pt x="152" y="511"/>
                    <a:pt x="146" y="505"/>
                  </a:cubicBezTo>
                  <a:cubicBezTo>
                    <a:pt x="145" y="504"/>
                    <a:pt x="144" y="503"/>
                    <a:pt x="144" y="502"/>
                  </a:cubicBezTo>
                  <a:cubicBezTo>
                    <a:pt x="141" y="500"/>
                    <a:pt x="139" y="497"/>
                    <a:pt x="137" y="495"/>
                  </a:cubicBezTo>
                  <a:cubicBezTo>
                    <a:pt x="136" y="494"/>
                    <a:pt x="136" y="494"/>
                    <a:pt x="135" y="493"/>
                  </a:cubicBezTo>
                  <a:cubicBezTo>
                    <a:pt x="135" y="493"/>
                    <a:pt x="134" y="492"/>
                    <a:pt x="134" y="491"/>
                  </a:cubicBezTo>
                  <a:cubicBezTo>
                    <a:pt x="132" y="489"/>
                    <a:pt x="130" y="487"/>
                    <a:pt x="128" y="485"/>
                  </a:cubicBezTo>
                  <a:cubicBezTo>
                    <a:pt x="127" y="484"/>
                    <a:pt x="125" y="482"/>
                    <a:pt x="124" y="481"/>
                  </a:cubicBezTo>
                  <a:cubicBezTo>
                    <a:pt x="122" y="479"/>
                    <a:pt x="121" y="477"/>
                    <a:pt x="119" y="475"/>
                  </a:cubicBezTo>
                  <a:cubicBezTo>
                    <a:pt x="118" y="473"/>
                    <a:pt x="117" y="472"/>
                    <a:pt x="115" y="470"/>
                  </a:cubicBezTo>
                  <a:cubicBezTo>
                    <a:pt x="114" y="468"/>
                    <a:pt x="112" y="466"/>
                    <a:pt x="110" y="464"/>
                  </a:cubicBezTo>
                  <a:cubicBezTo>
                    <a:pt x="109" y="463"/>
                    <a:pt x="108" y="461"/>
                    <a:pt x="107" y="460"/>
                  </a:cubicBezTo>
                  <a:cubicBezTo>
                    <a:pt x="105" y="458"/>
                    <a:pt x="104" y="455"/>
                    <a:pt x="102" y="453"/>
                  </a:cubicBezTo>
                  <a:cubicBezTo>
                    <a:pt x="101" y="452"/>
                    <a:pt x="100" y="450"/>
                    <a:pt x="99" y="449"/>
                  </a:cubicBezTo>
                  <a:cubicBezTo>
                    <a:pt x="97" y="447"/>
                    <a:pt x="96" y="444"/>
                    <a:pt x="94" y="442"/>
                  </a:cubicBezTo>
                  <a:cubicBezTo>
                    <a:pt x="93" y="441"/>
                    <a:pt x="92" y="439"/>
                    <a:pt x="91" y="438"/>
                  </a:cubicBezTo>
                  <a:cubicBezTo>
                    <a:pt x="91" y="438"/>
                    <a:pt x="91" y="438"/>
                    <a:pt x="91" y="438"/>
                  </a:cubicBezTo>
                  <a:cubicBezTo>
                    <a:pt x="89" y="435"/>
                    <a:pt x="88" y="433"/>
                    <a:pt x="86" y="431"/>
                  </a:cubicBezTo>
                  <a:cubicBezTo>
                    <a:pt x="85" y="430"/>
                    <a:pt x="85" y="429"/>
                    <a:pt x="84" y="428"/>
                  </a:cubicBezTo>
                  <a:cubicBezTo>
                    <a:pt x="84" y="427"/>
                    <a:pt x="83" y="427"/>
                    <a:pt x="83" y="426"/>
                  </a:cubicBezTo>
                  <a:cubicBezTo>
                    <a:pt x="81" y="424"/>
                    <a:pt x="80" y="421"/>
                    <a:pt x="78" y="418"/>
                  </a:cubicBezTo>
                  <a:cubicBezTo>
                    <a:pt x="77" y="417"/>
                    <a:pt x="76" y="416"/>
                    <a:pt x="76" y="414"/>
                  </a:cubicBezTo>
                  <a:cubicBezTo>
                    <a:pt x="73" y="410"/>
                    <a:pt x="71" y="406"/>
                    <a:pt x="68" y="402"/>
                  </a:cubicBezTo>
                  <a:cubicBezTo>
                    <a:pt x="66" y="398"/>
                    <a:pt x="64" y="394"/>
                    <a:pt x="61" y="389"/>
                  </a:cubicBezTo>
                  <a:cubicBezTo>
                    <a:pt x="61" y="388"/>
                    <a:pt x="60" y="388"/>
                    <a:pt x="60" y="387"/>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03" name="Freeform 46"/>
            <p:cNvSpPr>
              <a:spLocks/>
            </p:cNvSpPr>
            <p:nvPr userDrawn="1"/>
          </p:nvSpPr>
          <p:spPr bwMode="auto">
            <a:xfrm>
              <a:off x="9324976" y="1922463"/>
              <a:ext cx="860425" cy="803275"/>
            </a:xfrm>
            <a:custGeom>
              <a:avLst/>
              <a:gdLst>
                <a:gd name="T0" fmla="*/ 473 w 543"/>
                <a:gd name="T1" fmla="*/ 242 h 506"/>
                <a:gd name="T2" fmla="*/ 542 w 543"/>
                <a:gd name="T3" fmla="*/ 506 h 506"/>
                <a:gd name="T4" fmla="*/ 420 w 543"/>
                <a:gd name="T5" fmla="*/ 307 h 506"/>
                <a:gd name="T6" fmla="*/ 323 w 543"/>
                <a:gd name="T7" fmla="*/ 384 h 506"/>
                <a:gd name="T8" fmla="*/ 219 w 543"/>
                <a:gd name="T9" fmla="*/ 269 h 506"/>
                <a:gd name="T10" fmla="*/ 64 w 543"/>
                <a:gd name="T11" fmla="*/ 299 h 506"/>
                <a:gd name="T12" fmla="*/ 121 w 543"/>
                <a:gd name="T13" fmla="*/ 111 h 506"/>
                <a:gd name="T14" fmla="*/ 148 w 543"/>
                <a:gd name="T15" fmla="*/ 0 h 506"/>
                <a:gd name="T16" fmla="*/ 473 w 543"/>
                <a:gd name="T17" fmla="*/ 242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506">
                  <a:moveTo>
                    <a:pt x="473" y="242"/>
                  </a:moveTo>
                  <a:cubicBezTo>
                    <a:pt x="521" y="325"/>
                    <a:pt x="543" y="417"/>
                    <a:pt x="542" y="506"/>
                  </a:cubicBezTo>
                  <a:cubicBezTo>
                    <a:pt x="512" y="383"/>
                    <a:pt x="467" y="318"/>
                    <a:pt x="420" y="307"/>
                  </a:cubicBezTo>
                  <a:cubicBezTo>
                    <a:pt x="373" y="297"/>
                    <a:pt x="404" y="404"/>
                    <a:pt x="323" y="384"/>
                  </a:cubicBezTo>
                  <a:cubicBezTo>
                    <a:pt x="242" y="363"/>
                    <a:pt x="315" y="289"/>
                    <a:pt x="219" y="269"/>
                  </a:cubicBezTo>
                  <a:cubicBezTo>
                    <a:pt x="123" y="249"/>
                    <a:pt x="128" y="334"/>
                    <a:pt x="64" y="299"/>
                  </a:cubicBezTo>
                  <a:cubicBezTo>
                    <a:pt x="0" y="264"/>
                    <a:pt x="61" y="169"/>
                    <a:pt x="121" y="111"/>
                  </a:cubicBezTo>
                  <a:cubicBezTo>
                    <a:pt x="154" y="79"/>
                    <a:pt x="154" y="34"/>
                    <a:pt x="148" y="0"/>
                  </a:cubicBezTo>
                  <a:cubicBezTo>
                    <a:pt x="280" y="31"/>
                    <a:pt x="400" y="115"/>
                    <a:pt x="473" y="24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04" name="Freeform 47"/>
            <p:cNvSpPr>
              <a:spLocks/>
            </p:cNvSpPr>
            <p:nvPr userDrawn="1"/>
          </p:nvSpPr>
          <p:spPr bwMode="auto">
            <a:xfrm>
              <a:off x="9309101" y="2522538"/>
              <a:ext cx="636588" cy="747713"/>
            </a:xfrm>
            <a:custGeom>
              <a:avLst/>
              <a:gdLst>
                <a:gd name="T0" fmla="*/ 204 w 402"/>
                <a:gd name="T1" fmla="*/ 59 h 471"/>
                <a:gd name="T2" fmla="*/ 74 w 402"/>
                <a:gd name="T3" fmla="*/ 79 h 471"/>
                <a:gd name="T4" fmla="*/ 5 w 402"/>
                <a:gd name="T5" fmla="*/ 203 h 471"/>
                <a:gd name="T6" fmla="*/ 63 w 402"/>
                <a:gd name="T7" fmla="*/ 304 h 471"/>
                <a:gd name="T8" fmla="*/ 208 w 402"/>
                <a:gd name="T9" fmla="*/ 327 h 471"/>
                <a:gd name="T10" fmla="*/ 297 w 402"/>
                <a:gd name="T11" fmla="*/ 373 h 471"/>
                <a:gd name="T12" fmla="*/ 322 w 402"/>
                <a:gd name="T13" fmla="*/ 144 h 471"/>
                <a:gd name="T14" fmla="*/ 204 w 402"/>
                <a:gd name="T15" fmla="*/ 59 h 4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2" h="471">
                  <a:moveTo>
                    <a:pt x="204" y="59"/>
                  </a:moveTo>
                  <a:cubicBezTo>
                    <a:pt x="145" y="0"/>
                    <a:pt x="94" y="4"/>
                    <a:pt x="74" y="79"/>
                  </a:cubicBezTo>
                  <a:cubicBezTo>
                    <a:pt x="55" y="155"/>
                    <a:pt x="9" y="118"/>
                    <a:pt x="5" y="203"/>
                  </a:cubicBezTo>
                  <a:cubicBezTo>
                    <a:pt x="0" y="287"/>
                    <a:pt x="0" y="309"/>
                    <a:pt x="63" y="304"/>
                  </a:cubicBezTo>
                  <a:cubicBezTo>
                    <a:pt x="126" y="299"/>
                    <a:pt x="189" y="256"/>
                    <a:pt x="208" y="327"/>
                  </a:cubicBezTo>
                  <a:cubicBezTo>
                    <a:pt x="227" y="397"/>
                    <a:pt x="263" y="471"/>
                    <a:pt x="297" y="373"/>
                  </a:cubicBezTo>
                  <a:cubicBezTo>
                    <a:pt x="331" y="274"/>
                    <a:pt x="402" y="213"/>
                    <a:pt x="322" y="144"/>
                  </a:cubicBezTo>
                  <a:cubicBezTo>
                    <a:pt x="242" y="75"/>
                    <a:pt x="204" y="59"/>
                    <a:pt x="204" y="5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05" name="Freeform 48"/>
            <p:cNvSpPr>
              <a:spLocks/>
            </p:cNvSpPr>
            <p:nvPr userDrawn="1"/>
          </p:nvSpPr>
          <p:spPr bwMode="auto">
            <a:xfrm>
              <a:off x="8780463" y="1914525"/>
              <a:ext cx="438150" cy="336550"/>
            </a:xfrm>
            <a:custGeom>
              <a:avLst/>
              <a:gdLst>
                <a:gd name="T0" fmla="*/ 116 w 276"/>
                <a:gd name="T1" fmla="*/ 59 h 212"/>
                <a:gd name="T2" fmla="*/ 274 w 276"/>
                <a:gd name="T3" fmla="*/ 0 h 212"/>
                <a:gd name="T4" fmla="*/ 222 w 276"/>
                <a:gd name="T5" fmla="*/ 113 h 212"/>
                <a:gd name="T6" fmla="*/ 135 w 276"/>
                <a:gd name="T7" fmla="*/ 175 h 212"/>
                <a:gd name="T8" fmla="*/ 43 w 276"/>
                <a:gd name="T9" fmla="*/ 154 h 212"/>
                <a:gd name="T10" fmla="*/ 0 w 276"/>
                <a:gd name="T11" fmla="*/ 151 h 212"/>
                <a:gd name="T12" fmla="*/ 116 w 276"/>
                <a:gd name="T13" fmla="*/ 59 h 212"/>
              </a:gdLst>
              <a:ahLst/>
              <a:cxnLst>
                <a:cxn ang="0">
                  <a:pos x="T0" y="T1"/>
                </a:cxn>
                <a:cxn ang="0">
                  <a:pos x="T2" y="T3"/>
                </a:cxn>
                <a:cxn ang="0">
                  <a:pos x="T4" y="T5"/>
                </a:cxn>
                <a:cxn ang="0">
                  <a:pos x="T6" y="T7"/>
                </a:cxn>
                <a:cxn ang="0">
                  <a:pos x="T8" y="T9"/>
                </a:cxn>
                <a:cxn ang="0">
                  <a:pos x="T10" y="T11"/>
                </a:cxn>
                <a:cxn ang="0">
                  <a:pos x="T12" y="T13"/>
                </a:cxn>
              </a:cxnLst>
              <a:rect l="0" t="0" r="r" b="b"/>
              <a:pathLst>
                <a:path w="276" h="212">
                  <a:moveTo>
                    <a:pt x="116" y="59"/>
                  </a:moveTo>
                  <a:cubicBezTo>
                    <a:pt x="166" y="30"/>
                    <a:pt x="220" y="11"/>
                    <a:pt x="274" y="0"/>
                  </a:cubicBezTo>
                  <a:cubicBezTo>
                    <a:pt x="268" y="49"/>
                    <a:pt x="276" y="95"/>
                    <a:pt x="222" y="113"/>
                  </a:cubicBezTo>
                  <a:cubicBezTo>
                    <a:pt x="169" y="131"/>
                    <a:pt x="177" y="138"/>
                    <a:pt x="135" y="175"/>
                  </a:cubicBezTo>
                  <a:cubicBezTo>
                    <a:pt x="94" y="212"/>
                    <a:pt x="90" y="153"/>
                    <a:pt x="43" y="154"/>
                  </a:cubicBezTo>
                  <a:cubicBezTo>
                    <a:pt x="30" y="154"/>
                    <a:pt x="14" y="153"/>
                    <a:pt x="0" y="151"/>
                  </a:cubicBezTo>
                  <a:cubicBezTo>
                    <a:pt x="33" y="116"/>
                    <a:pt x="72" y="85"/>
                    <a:pt x="116" y="5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06" name="Freeform 49"/>
            <p:cNvSpPr>
              <a:spLocks/>
            </p:cNvSpPr>
            <p:nvPr userDrawn="1"/>
          </p:nvSpPr>
          <p:spPr bwMode="auto">
            <a:xfrm>
              <a:off x="9498013" y="3267075"/>
              <a:ext cx="307975" cy="249238"/>
            </a:xfrm>
            <a:custGeom>
              <a:avLst/>
              <a:gdLst>
                <a:gd name="T0" fmla="*/ 14 w 195"/>
                <a:gd name="T1" fmla="*/ 114 h 157"/>
                <a:gd name="T2" fmla="*/ 60 w 195"/>
                <a:gd name="T3" fmla="*/ 69 h 157"/>
                <a:gd name="T4" fmla="*/ 153 w 195"/>
                <a:gd name="T5" fmla="*/ 54 h 157"/>
                <a:gd name="T6" fmla="*/ 195 w 195"/>
                <a:gd name="T7" fmla="*/ 84 h 157"/>
                <a:gd name="T8" fmla="*/ 176 w 195"/>
                <a:gd name="T9" fmla="*/ 95 h 157"/>
                <a:gd name="T10" fmla="*/ 1 w 195"/>
                <a:gd name="T11" fmla="*/ 157 h 157"/>
                <a:gd name="T12" fmla="*/ 14 w 195"/>
                <a:gd name="T13" fmla="*/ 114 h 157"/>
              </a:gdLst>
              <a:ahLst/>
              <a:cxnLst>
                <a:cxn ang="0">
                  <a:pos x="T0" y="T1"/>
                </a:cxn>
                <a:cxn ang="0">
                  <a:pos x="T2" y="T3"/>
                </a:cxn>
                <a:cxn ang="0">
                  <a:pos x="T4" y="T5"/>
                </a:cxn>
                <a:cxn ang="0">
                  <a:pos x="T6" y="T7"/>
                </a:cxn>
                <a:cxn ang="0">
                  <a:pos x="T8" y="T9"/>
                </a:cxn>
                <a:cxn ang="0">
                  <a:pos x="T10" y="T11"/>
                </a:cxn>
                <a:cxn ang="0">
                  <a:pos x="T12" y="T13"/>
                </a:cxn>
              </a:cxnLst>
              <a:rect l="0" t="0" r="r" b="b"/>
              <a:pathLst>
                <a:path w="195" h="157">
                  <a:moveTo>
                    <a:pt x="14" y="114"/>
                  </a:moveTo>
                  <a:cubicBezTo>
                    <a:pt x="39" y="103"/>
                    <a:pt x="62" y="115"/>
                    <a:pt x="60" y="69"/>
                  </a:cubicBezTo>
                  <a:cubicBezTo>
                    <a:pt x="59" y="22"/>
                    <a:pt x="87" y="0"/>
                    <a:pt x="153" y="54"/>
                  </a:cubicBezTo>
                  <a:cubicBezTo>
                    <a:pt x="172" y="69"/>
                    <a:pt x="185" y="79"/>
                    <a:pt x="195" y="84"/>
                  </a:cubicBezTo>
                  <a:cubicBezTo>
                    <a:pt x="189" y="87"/>
                    <a:pt x="183" y="91"/>
                    <a:pt x="176" y="95"/>
                  </a:cubicBezTo>
                  <a:cubicBezTo>
                    <a:pt x="121" y="127"/>
                    <a:pt x="61" y="148"/>
                    <a:pt x="1" y="157"/>
                  </a:cubicBezTo>
                  <a:cubicBezTo>
                    <a:pt x="0" y="138"/>
                    <a:pt x="0" y="120"/>
                    <a:pt x="14" y="114"/>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07" name="Freeform 50"/>
            <p:cNvSpPr>
              <a:spLocks noEditPoints="1"/>
            </p:cNvSpPr>
            <p:nvPr userDrawn="1"/>
          </p:nvSpPr>
          <p:spPr bwMode="auto">
            <a:xfrm>
              <a:off x="8059738" y="1576388"/>
              <a:ext cx="2624138" cy="2624138"/>
            </a:xfrm>
            <a:custGeom>
              <a:avLst/>
              <a:gdLst>
                <a:gd name="T0" fmla="*/ 861 w 1654"/>
                <a:gd name="T1" fmla="*/ 1653 h 1653"/>
                <a:gd name="T2" fmla="*/ 737 w 1654"/>
                <a:gd name="T3" fmla="*/ 1605 h 1653"/>
                <a:gd name="T4" fmla="*/ 965 w 1654"/>
                <a:gd name="T5" fmla="*/ 1598 h 1653"/>
                <a:gd name="T6" fmla="*/ 623 w 1654"/>
                <a:gd name="T7" fmla="*/ 1628 h 1653"/>
                <a:gd name="T8" fmla="*/ 628 w 1654"/>
                <a:gd name="T9" fmla="*/ 1629 h 1653"/>
                <a:gd name="T10" fmla="*/ 1097 w 1654"/>
                <a:gd name="T11" fmla="*/ 1609 h 1653"/>
                <a:gd name="T12" fmla="*/ 489 w 1654"/>
                <a:gd name="T13" fmla="*/ 1558 h 1653"/>
                <a:gd name="T14" fmla="*/ 1171 w 1654"/>
                <a:gd name="T15" fmla="*/ 1556 h 1653"/>
                <a:gd name="T16" fmla="*/ 1190 w 1654"/>
                <a:gd name="T17" fmla="*/ 1568 h 1653"/>
                <a:gd name="T18" fmla="*/ 424 w 1654"/>
                <a:gd name="T19" fmla="*/ 1498 h 1653"/>
                <a:gd name="T20" fmla="*/ 1285 w 1654"/>
                <a:gd name="T21" fmla="*/ 1463 h 1653"/>
                <a:gd name="T22" fmla="*/ 303 w 1654"/>
                <a:gd name="T23" fmla="*/ 1466 h 1653"/>
                <a:gd name="T24" fmla="*/ 317 w 1654"/>
                <a:gd name="T25" fmla="*/ 1471 h 1653"/>
                <a:gd name="T26" fmla="*/ 1403 w 1654"/>
                <a:gd name="T27" fmla="*/ 1421 h 1653"/>
                <a:gd name="T28" fmla="*/ 211 w 1654"/>
                <a:gd name="T29" fmla="*/ 1346 h 1653"/>
                <a:gd name="T30" fmla="*/ 1447 w 1654"/>
                <a:gd name="T31" fmla="*/ 1342 h 1653"/>
                <a:gd name="T32" fmla="*/ 1460 w 1654"/>
                <a:gd name="T33" fmla="*/ 1346 h 1653"/>
                <a:gd name="T34" fmla="*/ 177 w 1654"/>
                <a:gd name="T35" fmla="*/ 1264 h 1653"/>
                <a:gd name="T36" fmla="*/ 1511 w 1654"/>
                <a:gd name="T37" fmla="*/ 1209 h 1653"/>
                <a:gd name="T38" fmla="*/ 81 w 1654"/>
                <a:gd name="T39" fmla="*/ 1185 h 1653"/>
                <a:gd name="T40" fmla="*/ 101 w 1654"/>
                <a:gd name="T41" fmla="*/ 1197 h 1653"/>
                <a:gd name="T42" fmla="*/ 1600 w 1654"/>
                <a:gd name="T43" fmla="*/ 1122 h 1653"/>
                <a:gd name="T44" fmla="*/ 49 w 1654"/>
                <a:gd name="T45" fmla="*/ 1037 h 1653"/>
                <a:gd name="T46" fmla="*/ 1607 w 1654"/>
                <a:gd name="T47" fmla="*/ 1031 h 1653"/>
                <a:gd name="T48" fmla="*/ 1612 w 1654"/>
                <a:gd name="T49" fmla="*/ 1032 h 1653"/>
                <a:gd name="T50" fmla="*/ 53 w 1654"/>
                <a:gd name="T51" fmla="*/ 948 h 1653"/>
                <a:gd name="T52" fmla="*/ 1609 w 1654"/>
                <a:gd name="T53" fmla="*/ 884 h 1653"/>
                <a:gd name="T54" fmla="*/ 0 w 1654"/>
                <a:gd name="T55" fmla="*/ 835 h 1653"/>
                <a:gd name="T56" fmla="*/ 44 w 1654"/>
                <a:gd name="T57" fmla="*/ 808 h 1653"/>
                <a:gd name="T58" fmla="*/ 1631 w 1654"/>
                <a:gd name="T59" fmla="*/ 799 h 1653"/>
                <a:gd name="T60" fmla="*/ 1633 w 1654"/>
                <a:gd name="T61" fmla="*/ 799 h 1653"/>
                <a:gd name="T62" fmla="*/ 37 w 1654"/>
                <a:gd name="T63" fmla="*/ 669 h 1653"/>
                <a:gd name="T64" fmla="*/ 1593 w 1654"/>
                <a:gd name="T65" fmla="*/ 657 h 1653"/>
                <a:gd name="T66" fmla="*/ 58 w 1654"/>
                <a:gd name="T67" fmla="*/ 607 h 1653"/>
                <a:gd name="T68" fmla="*/ 79 w 1654"/>
                <a:gd name="T69" fmla="*/ 592 h 1653"/>
                <a:gd name="T70" fmla="*/ 1601 w 1654"/>
                <a:gd name="T71" fmla="*/ 532 h 1653"/>
                <a:gd name="T72" fmla="*/ 82 w 1654"/>
                <a:gd name="T73" fmla="*/ 467 h 1653"/>
                <a:gd name="T74" fmla="*/ 1535 w 1654"/>
                <a:gd name="T75" fmla="*/ 463 h 1653"/>
                <a:gd name="T76" fmla="*/ 1546 w 1654"/>
                <a:gd name="T77" fmla="*/ 461 h 1653"/>
                <a:gd name="T78" fmla="*/ 177 w 1654"/>
                <a:gd name="T79" fmla="*/ 350 h 1653"/>
                <a:gd name="T80" fmla="*/ 1449 w 1654"/>
                <a:gd name="T81" fmla="*/ 349 h 1653"/>
                <a:gd name="T82" fmla="*/ 233 w 1654"/>
                <a:gd name="T83" fmla="*/ 305 h 1653"/>
                <a:gd name="T84" fmla="*/ 249 w 1654"/>
                <a:gd name="T85" fmla="*/ 298 h 1653"/>
                <a:gd name="T86" fmla="*/ 1404 w 1654"/>
                <a:gd name="T87" fmla="*/ 233 h 1653"/>
                <a:gd name="T88" fmla="*/ 304 w 1654"/>
                <a:gd name="T89" fmla="*/ 186 h 1653"/>
                <a:gd name="T90" fmla="*/ 1306 w 1654"/>
                <a:gd name="T91" fmla="*/ 200 h 1653"/>
                <a:gd name="T92" fmla="*/ 1323 w 1654"/>
                <a:gd name="T93" fmla="*/ 191 h 1653"/>
                <a:gd name="T94" fmla="*/ 440 w 1654"/>
                <a:gd name="T95" fmla="*/ 120 h 1653"/>
                <a:gd name="T96" fmla="*/ 1189 w 1654"/>
                <a:gd name="T97" fmla="*/ 131 h 1653"/>
                <a:gd name="T98" fmla="*/ 518 w 1654"/>
                <a:gd name="T99" fmla="*/ 104 h 1653"/>
                <a:gd name="T100" fmla="*/ 527 w 1654"/>
                <a:gd name="T101" fmla="*/ 102 h 1653"/>
                <a:gd name="T102" fmla="*/ 1099 w 1654"/>
                <a:gd name="T103" fmla="*/ 44 h 1653"/>
                <a:gd name="T104" fmla="*/ 624 w 1654"/>
                <a:gd name="T105" fmla="*/ 24 h 1653"/>
                <a:gd name="T106" fmla="*/ 987 w 1654"/>
                <a:gd name="T107" fmla="*/ 59 h 1653"/>
                <a:gd name="T108" fmla="*/ 1008 w 1654"/>
                <a:gd name="T109" fmla="*/ 41 h 1653"/>
                <a:gd name="T110" fmla="*/ 775 w 1654"/>
                <a:gd name="T111" fmla="*/ 22 h 1653"/>
                <a:gd name="T112" fmla="*/ 861 w 1654"/>
                <a:gd name="T113" fmla="*/ 43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54" h="1653">
                  <a:moveTo>
                    <a:pt x="852" y="1653"/>
                  </a:moveTo>
                  <a:cubicBezTo>
                    <a:pt x="840" y="1653"/>
                    <a:pt x="830" y="1644"/>
                    <a:pt x="830" y="1632"/>
                  </a:cubicBezTo>
                  <a:cubicBezTo>
                    <a:pt x="830" y="1620"/>
                    <a:pt x="839" y="1610"/>
                    <a:pt x="851" y="1610"/>
                  </a:cubicBezTo>
                  <a:cubicBezTo>
                    <a:pt x="860" y="1609"/>
                    <a:pt x="860" y="1609"/>
                    <a:pt x="860" y="1609"/>
                  </a:cubicBezTo>
                  <a:cubicBezTo>
                    <a:pt x="872" y="1608"/>
                    <a:pt x="882" y="1618"/>
                    <a:pt x="882" y="1630"/>
                  </a:cubicBezTo>
                  <a:cubicBezTo>
                    <a:pt x="883" y="1642"/>
                    <a:pt x="873" y="1653"/>
                    <a:pt x="861" y="1653"/>
                  </a:cubicBezTo>
                  <a:cubicBezTo>
                    <a:pt x="852" y="1653"/>
                    <a:pt x="852" y="1653"/>
                    <a:pt x="852" y="1653"/>
                  </a:cubicBezTo>
                  <a:close/>
                  <a:moveTo>
                    <a:pt x="743" y="1649"/>
                  </a:moveTo>
                  <a:cubicBezTo>
                    <a:pt x="743" y="1649"/>
                    <a:pt x="742" y="1649"/>
                    <a:pt x="741" y="1649"/>
                  </a:cubicBezTo>
                  <a:cubicBezTo>
                    <a:pt x="732" y="1648"/>
                    <a:pt x="732" y="1648"/>
                    <a:pt x="732" y="1648"/>
                  </a:cubicBezTo>
                  <a:cubicBezTo>
                    <a:pt x="720" y="1647"/>
                    <a:pt x="712" y="1636"/>
                    <a:pt x="713" y="1624"/>
                  </a:cubicBezTo>
                  <a:cubicBezTo>
                    <a:pt x="714" y="1612"/>
                    <a:pt x="725" y="1604"/>
                    <a:pt x="737" y="1605"/>
                  </a:cubicBezTo>
                  <a:cubicBezTo>
                    <a:pt x="746" y="1606"/>
                    <a:pt x="746" y="1606"/>
                    <a:pt x="746" y="1606"/>
                  </a:cubicBezTo>
                  <a:cubicBezTo>
                    <a:pt x="758" y="1607"/>
                    <a:pt x="766" y="1618"/>
                    <a:pt x="765" y="1630"/>
                  </a:cubicBezTo>
                  <a:cubicBezTo>
                    <a:pt x="764" y="1641"/>
                    <a:pt x="754" y="1649"/>
                    <a:pt x="743" y="1649"/>
                  </a:cubicBezTo>
                  <a:close/>
                  <a:moveTo>
                    <a:pt x="968" y="1641"/>
                  </a:moveTo>
                  <a:cubicBezTo>
                    <a:pt x="958" y="1641"/>
                    <a:pt x="949" y="1634"/>
                    <a:pt x="947" y="1623"/>
                  </a:cubicBezTo>
                  <a:cubicBezTo>
                    <a:pt x="945" y="1611"/>
                    <a:pt x="953" y="1600"/>
                    <a:pt x="965" y="1598"/>
                  </a:cubicBezTo>
                  <a:cubicBezTo>
                    <a:pt x="972" y="1597"/>
                    <a:pt x="972" y="1597"/>
                    <a:pt x="972" y="1597"/>
                  </a:cubicBezTo>
                  <a:cubicBezTo>
                    <a:pt x="981" y="1640"/>
                    <a:pt x="981" y="1640"/>
                    <a:pt x="981" y="1640"/>
                  </a:cubicBezTo>
                  <a:cubicBezTo>
                    <a:pt x="972" y="1641"/>
                    <a:pt x="972" y="1641"/>
                    <a:pt x="972" y="1641"/>
                  </a:cubicBezTo>
                  <a:cubicBezTo>
                    <a:pt x="971" y="1641"/>
                    <a:pt x="970" y="1641"/>
                    <a:pt x="968" y="1641"/>
                  </a:cubicBezTo>
                  <a:close/>
                  <a:moveTo>
                    <a:pt x="628" y="1629"/>
                  </a:moveTo>
                  <a:cubicBezTo>
                    <a:pt x="626" y="1629"/>
                    <a:pt x="624" y="1629"/>
                    <a:pt x="623" y="1628"/>
                  </a:cubicBezTo>
                  <a:cubicBezTo>
                    <a:pt x="614" y="1626"/>
                    <a:pt x="614" y="1626"/>
                    <a:pt x="614" y="1626"/>
                  </a:cubicBezTo>
                  <a:cubicBezTo>
                    <a:pt x="602" y="1623"/>
                    <a:pt x="595" y="1611"/>
                    <a:pt x="598" y="1599"/>
                  </a:cubicBezTo>
                  <a:cubicBezTo>
                    <a:pt x="602" y="1587"/>
                    <a:pt x="614" y="1581"/>
                    <a:pt x="625" y="1584"/>
                  </a:cubicBezTo>
                  <a:cubicBezTo>
                    <a:pt x="633" y="1586"/>
                    <a:pt x="633" y="1586"/>
                    <a:pt x="633" y="1586"/>
                  </a:cubicBezTo>
                  <a:cubicBezTo>
                    <a:pt x="645" y="1589"/>
                    <a:pt x="652" y="1601"/>
                    <a:pt x="649" y="1612"/>
                  </a:cubicBezTo>
                  <a:cubicBezTo>
                    <a:pt x="647" y="1622"/>
                    <a:pt x="638" y="1629"/>
                    <a:pt x="628" y="1629"/>
                  </a:cubicBezTo>
                  <a:close/>
                  <a:moveTo>
                    <a:pt x="1082" y="1613"/>
                  </a:moveTo>
                  <a:cubicBezTo>
                    <a:pt x="1073" y="1613"/>
                    <a:pt x="1064" y="1607"/>
                    <a:pt x="1061" y="1598"/>
                  </a:cubicBezTo>
                  <a:cubicBezTo>
                    <a:pt x="1057" y="1586"/>
                    <a:pt x="1064" y="1574"/>
                    <a:pt x="1075" y="1570"/>
                  </a:cubicBezTo>
                  <a:cubicBezTo>
                    <a:pt x="1083" y="1567"/>
                    <a:pt x="1083" y="1567"/>
                    <a:pt x="1083" y="1567"/>
                  </a:cubicBezTo>
                  <a:cubicBezTo>
                    <a:pt x="1095" y="1563"/>
                    <a:pt x="1107" y="1569"/>
                    <a:pt x="1111" y="1581"/>
                  </a:cubicBezTo>
                  <a:cubicBezTo>
                    <a:pt x="1115" y="1592"/>
                    <a:pt x="1109" y="1605"/>
                    <a:pt x="1097" y="1609"/>
                  </a:cubicBezTo>
                  <a:cubicBezTo>
                    <a:pt x="1089" y="1612"/>
                    <a:pt x="1089" y="1612"/>
                    <a:pt x="1089" y="1612"/>
                  </a:cubicBezTo>
                  <a:cubicBezTo>
                    <a:pt x="1087" y="1612"/>
                    <a:pt x="1084" y="1613"/>
                    <a:pt x="1082" y="1613"/>
                  </a:cubicBezTo>
                  <a:close/>
                  <a:moveTo>
                    <a:pt x="517" y="1592"/>
                  </a:moveTo>
                  <a:cubicBezTo>
                    <a:pt x="514" y="1592"/>
                    <a:pt x="511" y="1591"/>
                    <a:pt x="508" y="1590"/>
                  </a:cubicBezTo>
                  <a:cubicBezTo>
                    <a:pt x="500" y="1587"/>
                    <a:pt x="500" y="1587"/>
                    <a:pt x="500" y="1587"/>
                  </a:cubicBezTo>
                  <a:cubicBezTo>
                    <a:pt x="489" y="1582"/>
                    <a:pt x="484" y="1569"/>
                    <a:pt x="489" y="1558"/>
                  </a:cubicBezTo>
                  <a:cubicBezTo>
                    <a:pt x="494" y="1547"/>
                    <a:pt x="506" y="1542"/>
                    <a:pt x="518" y="1546"/>
                  </a:cubicBezTo>
                  <a:cubicBezTo>
                    <a:pt x="525" y="1550"/>
                    <a:pt x="525" y="1550"/>
                    <a:pt x="525" y="1550"/>
                  </a:cubicBezTo>
                  <a:cubicBezTo>
                    <a:pt x="537" y="1554"/>
                    <a:pt x="542" y="1567"/>
                    <a:pt x="537" y="1578"/>
                  </a:cubicBezTo>
                  <a:cubicBezTo>
                    <a:pt x="534" y="1587"/>
                    <a:pt x="525" y="1592"/>
                    <a:pt x="517" y="1592"/>
                  </a:cubicBezTo>
                  <a:close/>
                  <a:moveTo>
                    <a:pt x="1190" y="1568"/>
                  </a:moveTo>
                  <a:cubicBezTo>
                    <a:pt x="1182" y="1568"/>
                    <a:pt x="1175" y="1563"/>
                    <a:pt x="1171" y="1556"/>
                  </a:cubicBezTo>
                  <a:cubicBezTo>
                    <a:pt x="1165" y="1545"/>
                    <a:pt x="1170" y="1532"/>
                    <a:pt x="1180" y="1526"/>
                  </a:cubicBezTo>
                  <a:cubicBezTo>
                    <a:pt x="1188" y="1522"/>
                    <a:pt x="1188" y="1522"/>
                    <a:pt x="1188" y="1522"/>
                  </a:cubicBezTo>
                  <a:cubicBezTo>
                    <a:pt x="1199" y="1517"/>
                    <a:pt x="1212" y="1521"/>
                    <a:pt x="1217" y="1532"/>
                  </a:cubicBezTo>
                  <a:cubicBezTo>
                    <a:pt x="1223" y="1542"/>
                    <a:pt x="1219" y="1556"/>
                    <a:pt x="1208" y="1561"/>
                  </a:cubicBezTo>
                  <a:cubicBezTo>
                    <a:pt x="1200" y="1565"/>
                    <a:pt x="1200" y="1565"/>
                    <a:pt x="1200" y="1565"/>
                  </a:cubicBezTo>
                  <a:cubicBezTo>
                    <a:pt x="1197" y="1567"/>
                    <a:pt x="1194" y="1568"/>
                    <a:pt x="1190" y="1568"/>
                  </a:cubicBezTo>
                  <a:close/>
                  <a:moveTo>
                    <a:pt x="412" y="1539"/>
                  </a:moveTo>
                  <a:cubicBezTo>
                    <a:pt x="409" y="1539"/>
                    <a:pt x="405" y="1538"/>
                    <a:pt x="401" y="1536"/>
                  </a:cubicBezTo>
                  <a:cubicBezTo>
                    <a:pt x="394" y="1531"/>
                    <a:pt x="394" y="1531"/>
                    <a:pt x="394" y="1531"/>
                  </a:cubicBezTo>
                  <a:cubicBezTo>
                    <a:pt x="383" y="1525"/>
                    <a:pt x="380" y="1511"/>
                    <a:pt x="386" y="1501"/>
                  </a:cubicBezTo>
                  <a:cubicBezTo>
                    <a:pt x="393" y="1491"/>
                    <a:pt x="406" y="1487"/>
                    <a:pt x="417" y="1494"/>
                  </a:cubicBezTo>
                  <a:cubicBezTo>
                    <a:pt x="424" y="1498"/>
                    <a:pt x="424" y="1498"/>
                    <a:pt x="424" y="1498"/>
                  </a:cubicBezTo>
                  <a:cubicBezTo>
                    <a:pt x="434" y="1504"/>
                    <a:pt x="437" y="1518"/>
                    <a:pt x="431" y="1528"/>
                  </a:cubicBezTo>
                  <a:cubicBezTo>
                    <a:pt x="427" y="1535"/>
                    <a:pt x="420" y="1539"/>
                    <a:pt x="412" y="1539"/>
                  </a:cubicBezTo>
                  <a:close/>
                  <a:moveTo>
                    <a:pt x="1291" y="1507"/>
                  </a:moveTo>
                  <a:cubicBezTo>
                    <a:pt x="1284" y="1507"/>
                    <a:pt x="1277" y="1504"/>
                    <a:pt x="1273" y="1498"/>
                  </a:cubicBezTo>
                  <a:cubicBezTo>
                    <a:pt x="1266" y="1488"/>
                    <a:pt x="1268" y="1474"/>
                    <a:pt x="1278" y="1467"/>
                  </a:cubicBezTo>
                  <a:cubicBezTo>
                    <a:pt x="1285" y="1463"/>
                    <a:pt x="1285" y="1463"/>
                    <a:pt x="1285" y="1463"/>
                  </a:cubicBezTo>
                  <a:cubicBezTo>
                    <a:pt x="1295" y="1455"/>
                    <a:pt x="1308" y="1458"/>
                    <a:pt x="1316" y="1467"/>
                  </a:cubicBezTo>
                  <a:cubicBezTo>
                    <a:pt x="1323" y="1477"/>
                    <a:pt x="1320" y="1491"/>
                    <a:pt x="1311" y="1498"/>
                  </a:cubicBezTo>
                  <a:cubicBezTo>
                    <a:pt x="1303" y="1503"/>
                    <a:pt x="1303" y="1503"/>
                    <a:pt x="1303" y="1503"/>
                  </a:cubicBezTo>
                  <a:cubicBezTo>
                    <a:pt x="1299" y="1506"/>
                    <a:pt x="1295" y="1507"/>
                    <a:pt x="1291" y="1507"/>
                  </a:cubicBezTo>
                  <a:close/>
                  <a:moveTo>
                    <a:pt x="317" y="1471"/>
                  </a:moveTo>
                  <a:cubicBezTo>
                    <a:pt x="312" y="1471"/>
                    <a:pt x="307" y="1470"/>
                    <a:pt x="303" y="1466"/>
                  </a:cubicBezTo>
                  <a:cubicBezTo>
                    <a:pt x="296" y="1461"/>
                    <a:pt x="296" y="1461"/>
                    <a:pt x="296" y="1461"/>
                  </a:cubicBezTo>
                  <a:cubicBezTo>
                    <a:pt x="287" y="1453"/>
                    <a:pt x="286" y="1439"/>
                    <a:pt x="293" y="1430"/>
                  </a:cubicBezTo>
                  <a:cubicBezTo>
                    <a:pt x="301" y="1421"/>
                    <a:pt x="315" y="1419"/>
                    <a:pt x="324" y="1427"/>
                  </a:cubicBezTo>
                  <a:cubicBezTo>
                    <a:pt x="331" y="1432"/>
                    <a:pt x="331" y="1432"/>
                    <a:pt x="331" y="1432"/>
                  </a:cubicBezTo>
                  <a:cubicBezTo>
                    <a:pt x="340" y="1440"/>
                    <a:pt x="341" y="1454"/>
                    <a:pt x="334" y="1463"/>
                  </a:cubicBezTo>
                  <a:cubicBezTo>
                    <a:pt x="329" y="1469"/>
                    <a:pt x="323" y="1471"/>
                    <a:pt x="317" y="1471"/>
                  </a:cubicBezTo>
                  <a:close/>
                  <a:moveTo>
                    <a:pt x="1381" y="1433"/>
                  </a:moveTo>
                  <a:cubicBezTo>
                    <a:pt x="1376" y="1433"/>
                    <a:pt x="1370" y="1431"/>
                    <a:pt x="1365" y="1426"/>
                  </a:cubicBezTo>
                  <a:cubicBezTo>
                    <a:pt x="1357" y="1417"/>
                    <a:pt x="1358" y="1403"/>
                    <a:pt x="1366" y="1395"/>
                  </a:cubicBezTo>
                  <a:cubicBezTo>
                    <a:pt x="1372" y="1389"/>
                    <a:pt x="1372" y="1389"/>
                    <a:pt x="1372" y="1389"/>
                  </a:cubicBezTo>
                  <a:cubicBezTo>
                    <a:pt x="1381" y="1381"/>
                    <a:pt x="1395" y="1381"/>
                    <a:pt x="1403" y="1390"/>
                  </a:cubicBezTo>
                  <a:cubicBezTo>
                    <a:pt x="1412" y="1398"/>
                    <a:pt x="1412" y="1412"/>
                    <a:pt x="1403" y="1421"/>
                  </a:cubicBezTo>
                  <a:cubicBezTo>
                    <a:pt x="1396" y="1427"/>
                    <a:pt x="1396" y="1427"/>
                    <a:pt x="1396" y="1427"/>
                  </a:cubicBezTo>
                  <a:cubicBezTo>
                    <a:pt x="1392" y="1431"/>
                    <a:pt x="1387" y="1433"/>
                    <a:pt x="1381" y="1433"/>
                  </a:cubicBezTo>
                  <a:close/>
                  <a:moveTo>
                    <a:pt x="232" y="1391"/>
                  </a:moveTo>
                  <a:cubicBezTo>
                    <a:pt x="226" y="1391"/>
                    <a:pt x="220" y="1388"/>
                    <a:pt x="216" y="1384"/>
                  </a:cubicBezTo>
                  <a:cubicBezTo>
                    <a:pt x="210" y="1377"/>
                    <a:pt x="210" y="1377"/>
                    <a:pt x="210" y="1377"/>
                  </a:cubicBezTo>
                  <a:cubicBezTo>
                    <a:pt x="202" y="1368"/>
                    <a:pt x="202" y="1354"/>
                    <a:pt x="211" y="1346"/>
                  </a:cubicBezTo>
                  <a:cubicBezTo>
                    <a:pt x="220" y="1338"/>
                    <a:pt x="234" y="1339"/>
                    <a:pt x="242" y="1348"/>
                  </a:cubicBezTo>
                  <a:cubicBezTo>
                    <a:pt x="248" y="1354"/>
                    <a:pt x="248" y="1354"/>
                    <a:pt x="248" y="1354"/>
                  </a:cubicBezTo>
                  <a:cubicBezTo>
                    <a:pt x="256" y="1363"/>
                    <a:pt x="255" y="1377"/>
                    <a:pt x="247" y="1385"/>
                  </a:cubicBezTo>
                  <a:cubicBezTo>
                    <a:pt x="242" y="1389"/>
                    <a:pt x="237" y="1391"/>
                    <a:pt x="232" y="1391"/>
                  </a:cubicBezTo>
                  <a:close/>
                  <a:moveTo>
                    <a:pt x="1460" y="1346"/>
                  </a:moveTo>
                  <a:cubicBezTo>
                    <a:pt x="1456" y="1346"/>
                    <a:pt x="1451" y="1345"/>
                    <a:pt x="1447" y="1342"/>
                  </a:cubicBezTo>
                  <a:cubicBezTo>
                    <a:pt x="1437" y="1334"/>
                    <a:pt x="1436" y="1320"/>
                    <a:pt x="1443" y="1311"/>
                  </a:cubicBezTo>
                  <a:cubicBezTo>
                    <a:pt x="1448" y="1304"/>
                    <a:pt x="1448" y="1304"/>
                    <a:pt x="1448" y="1304"/>
                  </a:cubicBezTo>
                  <a:cubicBezTo>
                    <a:pt x="1456" y="1295"/>
                    <a:pt x="1470" y="1293"/>
                    <a:pt x="1479" y="1300"/>
                  </a:cubicBezTo>
                  <a:cubicBezTo>
                    <a:pt x="1489" y="1308"/>
                    <a:pt x="1490" y="1321"/>
                    <a:pt x="1483" y="1331"/>
                  </a:cubicBezTo>
                  <a:cubicBezTo>
                    <a:pt x="1478" y="1338"/>
                    <a:pt x="1478" y="1338"/>
                    <a:pt x="1478" y="1338"/>
                  </a:cubicBezTo>
                  <a:cubicBezTo>
                    <a:pt x="1473" y="1344"/>
                    <a:pt x="1467" y="1346"/>
                    <a:pt x="1460" y="1346"/>
                  </a:cubicBezTo>
                  <a:close/>
                  <a:moveTo>
                    <a:pt x="159" y="1299"/>
                  </a:moveTo>
                  <a:cubicBezTo>
                    <a:pt x="152" y="1299"/>
                    <a:pt x="145" y="1295"/>
                    <a:pt x="141" y="1289"/>
                  </a:cubicBezTo>
                  <a:cubicBezTo>
                    <a:pt x="136" y="1282"/>
                    <a:pt x="136" y="1282"/>
                    <a:pt x="136" y="1282"/>
                  </a:cubicBezTo>
                  <a:cubicBezTo>
                    <a:pt x="130" y="1271"/>
                    <a:pt x="132" y="1258"/>
                    <a:pt x="142" y="1251"/>
                  </a:cubicBezTo>
                  <a:cubicBezTo>
                    <a:pt x="153" y="1245"/>
                    <a:pt x="166" y="1247"/>
                    <a:pt x="173" y="1257"/>
                  </a:cubicBezTo>
                  <a:cubicBezTo>
                    <a:pt x="177" y="1264"/>
                    <a:pt x="177" y="1264"/>
                    <a:pt x="177" y="1264"/>
                  </a:cubicBezTo>
                  <a:cubicBezTo>
                    <a:pt x="184" y="1274"/>
                    <a:pt x="182" y="1288"/>
                    <a:pt x="172" y="1295"/>
                  </a:cubicBezTo>
                  <a:cubicBezTo>
                    <a:pt x="168" y="1297"/>
                    <a:pt x="164" y="1299"/>
                    <a:pt x="159" y="1299"/>
                  </a:cubicBezTo>
                  <a:close/>
                  <a:moveTo>
                    <a:pt x="1526" y="1249"/>
                  </a:moveTo>
                  <a:cubicBezTo>
                    <a:pt x="1522" y="1249"/>
                    <a:pt x="1518" y="1248"/>
                    <a:pt x="1515" y="1246"/>
                  </a:cubicBezTo>
                  <a:cubicBezTo>
                    <a:pt x="1505" y="1240"/>
                    <a:pt x="1501" y="1227"/>
                    <a:pt x="1507" y="1217"/>
                  </a:cubicBezTo>
                  <a:cubicBezTo>
                    <a:pt x="1511" y="1209"/>
                    <a:pt x="1511" y="1209"/>
                    <a:pt x="1511" y="1209"/>
                  </a:cubicBezTo>
                  <a:cubicBezTo>
                    <a:pt x="1517" y="1199"/>
                    <a:pt x="1530" y="1195"/>
                    <a:pt x="1541" y="1201"/>
                  </a:cubicBezTo>
                  <a:cubicBezTo>
                    <a:pt x="1552" y="1207"/>
                    <a:pt x="1555" y="1220"/>
                    <a:pt x="1549" y="1231"/>
                  </a:cubicBezTo>
                  <a:cubicBezTo>
                    <a:pt x="1545" y="1238"/>
                    <a:pt x="1545" y="1238"/>
                    <a:pt x="1545" y="1238"/>
                  </a:cubicBezTo>
                  <a:cubicBezTo>
                    <a:pt x="1541" y="1245"/>
                    <a:pt x="1534" y="1249"/>
                    <a:pt x="1526" y="1249"/>
                  </a:cubicBezTo>
                  <a:close/>
                  <a:moveTo>
                    <a:pt x="101" y="1197"/>
                  </a:moveTo>
                  <a:cubicBezTo>
                    <a:pt x="93" y="1197"/>
                    <a:pt x="85" y="1192"/>
                    <a:pt x="81" y="1185"/>
                  </a:cubicBezTo>
                  <a:cubicBezTo>
                    <a:pt x="77" y="1176"/>
                    <a:pt x="77" y="1176"/>
                    <a:pt x="77" y="1176"/>
                  </a:cubicBezTo>
                  <a:cubicBezTo>
                    <a:pt x="72" y="1165"/>
                    <a:pt x="77" y="1152"/>
                    <a:pt x="88" y="1147"/>
                  </a:cubicBezTo>
                  <a:cubicBezTo>
                    <a:pt x="99" y="1142"/>
                    <a:pt x="112" y="1147"/>
                    <a:pt x="117" y="1158"/>
                  </a:cubicBezTo>
                  <a:cubicBezTo>
                    <a:pt x="121" y="1165"/>
                    <a:pt x="121" y="1165"/>
                    <a:pt x="121" y="1165"/>
                  </a:cubicBezTo>
                  <a:cubicBezTo>
                    <a:pt x="126" y="1176"/>
                    <a:pt x="121" y="1189"/>
                    <a:pt x="110" y="1195"/>
                  </a:cubicBezTo>
                  <a:cubicBezTo>
                    <a:pt x="107" y="1196"/>
                    <a:pt x="104" y="1197"/>
                    <a:pt x="101" y="1197"/>
                  </a:cubicBezTo>
                  <a:close/>
                  <a:moveTo>
                    <a:pt x="1577" y="1144"/>
                  </a:moveTo>
                  <a:cubicBezTo>
                    <a:pt x="1574" y="1144"/>
                    <a:pt x="1571" y="1143"/>
                    <a:pt x="1569" y="1142"/>
                  </a:cubicBezTo>
                  <a:cubicBezTo>
                    <a:pt x="1558" y="1138"/>
                    <a:pt x="1552" y="1125"/>
                    <a:pt x="1556" y="1114"/>
                  </a:cubicBezTo>
                  <a:cubicBezTo>
                    <a:pt x="1560" y="1106"/>
                    <a:pt x="1560" y="1106"/>
                    <a:pt x="1560" y="1106"/>
                  </a:cubicBezTo>
                  <a:cubicBezTo>
                    <a:pt x="1564" y="1095"/>
                    <a:pt x="1577" y="1089"/>
                    <a:pt x="1588" y="1093"/>
                  </a:cubicBezTo>
                  <a:cubicBezTo>
                    <a:pt x="1599" y="1098"/>
                    <a:pt x="1605" y="1110"/>
                    <a:pt x="1600" y="1122"/>
                  </a:cubicBezTo>
                  <a:cubicBezTo>
                    <a:pt x="1597" y="1130"/>
                    <a:pt x="1597" y="1130"/>
                    <a:pt x="1597" y="1130"/>
                  </a:cubicBezTo>
                  <a:cubicBezTo>
                    <a:pt x="1594" y="1139"/>
                    <a:pt x="1586" y="1144"/>
                    <a:pt x="1577" y="1144"/>
                  </a:cubicBezTo>
                  <a:close/>
                  <a:moveTo>
                    <a:pt x="58" y="1088"/>
                  </a:moveTo>
                  <a:cubicBezTo>
                    <a:pt x="49" y="1088"/>
                    <a:pt x="40" y="1082"/>
                    <a:pt x="37" y="1072"/>
                  </a:cubicBezTo>
                  <a:cubicBezTo>
                    <a:pt x="34" y="1064"/>
                    <a:pt x="34" y="1064"/>
                    <a:pt x="34" y="1064"/>
                  </a:cubicBezTo>
                  <a:cubicBezTo>
                    <a:pt x="31" y="1052"/>
                    <a:pt x="38" y="1040"/>
                    <a:pt x="49" y="1037"/>
                  </a:cubicBezTo>
                  <a:cubicBezTo>
                    <a:pt x="61" y="1033"/>
                    <a:pt x="73" y="1040"/>
                    <a:pt x="76" y="1051"/>
                  </a:cubicBezTo>
                  <a:cubicBezTo>
                    <a:pt x="79" y="1059"/>
                    <a:pt x="79" y="1059"/>
                    <a:pt x="79" y="1059"/>
                  </a:cubicBezTo>
                  <a:cubicBezTo>
                    <a:pt x="82" y="1071"/>
                    <a:pt x="76" y="1083"/>
                    <a:pt x="64" y="1087"/>
                  </a:cubicBezTo>
                  <a:cubicBezTo>
                    <a:pt x="62" y="1087"/>
                    <a:pt x="60" y="1088"/>
                    <a:pt x="58" y="1088"/>
                  </a:cubicBezTo>
                  <a:close/>
                  <a:moveTo>
                    <a:pt x="1612" y="1032"/>
                  </a:moveTo>
                  <a:cubicBezTo>
                    <a:pt x="1610" y="1032"/>
                    <a:pt x="1608" y="1032"/>
                    <a:pt x="1607" y="1031"/>
                  </a:cubicBezTo>
                  <a:cubicBezTo>
                    <a:pt x="1595" y="1029"/>
                    <a:pt x="1588" y="1017"/>
                    <a:pt x="1590" y="1005"/>
                  </a:cubicBezTo>
                  <a:cubicBezTo>
                    <a:pt x="1592" y="997"/>
                    <a:pt x="1592" y="997"/>
                    <a:pt x="1592" y="997"/>
                  </a:cubicBezTo>
                  <a:cubicBezTo>
                    <a:pt x="1595" y="985"/>
                    <a:pt x="1607" y="978"/>
                    <a:pt x="1618" y="980"/>
                  </a:cubicBezTo>
                  <a:cubicBezTo>
                    <a:pt x="1630" y="983"/>
                    <a:pt x="1638" y="995"/>
                    <a:pt x="1635" y="1006"/>
                  </a:cubicBezTo>
                  <a:cubicBezTo>
                    <a:pt x="1633" y="1015"/>
                    <a:pt x="1633" y="1015"/>
                    <a:pt x="1633" y="1015"/>
                  </a:cubicBezTo>
                  <a:cubicBezTo>
                    <a:pt x="1631" y="1025"/>
                    <a:pt x="1622" y="1032"/>
                    <a:pt x="1612" y="1032"/>
                  </a:cubicBezTo>
                  <a:close/>
                  <a:moveTo>
                    <a:pt x="31" y="974"/>
                  </a:moveTo>
                  <a:cubicBezTo>
                    <a:pt x="21" y="974"/>
                    <a:pt x="12" y="966"/>
                    <a:pt x="10" y="955"/>
                  </a:cubicBezTo>
                  <a:cubicBezTo>
                    <a:pt x="9" y="946"/>
                    <a:pt x="9" y="946"/>
                    <a:pt x="9" y="946"/>
                  </a:cubicBezTo>
                  <a:cubicBezTo>
                    <a:pt x="7" y="934"/>
                    <a:pt x="15" y="923"/>
                    <a:pt x="27" y="922"/>
                  </a:cubicBezTo>
                  <a:cubicBezTo>
                    <a:pt x="39" y="920"/>
                    <a:pt x="50" y="928"/>
                    <a:pt x="52" y="940"/>
                  </a:cubicBezTo>
                  <a:cubicBezTo>
                    <a:pt x="53" y="948"/>
                    <a:pt x="53" y="948"/>
                    <a:pt x="53" y="948"/>
                  </a:cubicBezTo>
                  <a:cubicBezTo>
                    <a:pt x="55" y="960"/>
                    <a:pt x="47" y="972"/>
                    <a:pt x="35" y="973"/>
                  </a:cubicBezTo>
                  <a:cubicBezTo>
                    <a:pt x="34" y="974"/>
                    <a:pt x="33" y="974"/>
                    <a:pt x="31" y="974"/>
                  </a:cubicBezTo>
                  <a:close/>
                  <a:moveTo>
                    <a:pt x="1630" y="916"/>
                  </a:moveTo>
                  <a:cubicBezTo>
                    <a:pt x="1629" y="916"/>
                    <a:pt x="1629" y="916"/>
                    <a:pt x="1628" y="916"/>
                  </a:cubicBezTo>
                  <a:cubicBezTo>
                    <a:pt x="1616" y="915"/>
                    <a:pt x="1607" y="905"/>
                    <a:pt x="1608" y="893"/>
                  </a:cubicBezTo>
                  <a:cubicBezTo>
                    <a:pt x="1609" y="884"/>
                    <a:pt x="1609" y="884"/>
                    <a:pt x="1609" y="884"/>
                  </a:cubicBezTo>
                  <a:cubicBezTo>
                    <a:pt x="1610" y="872"/>
                    <a:pt x="1620" y="863"/>
                    <a:pt x="1632" y="864"/>
                  </a:cubicBezTo>
                  <a:cubicBezTo>
                    <a:pt x="1644" y="865"/>
                    <a:pt x="1653" y="875"/>
                    <a:pt x="1652" y="887"/>
                  </a:cubicBezTo>
                  <a:cubicBezTo>
                    <a:pt x="1652" y="896"/>
                    <a:pt x="1652" y="896"/>
                    <a:pt x="1652" y="896"/>
                  </a:cubicBezTo>
                  <a:cubicBezTo>
                    <a:pt x="1651" y="908"/>
                    <a:pt x="1641" y="916"/>
                    <a:pt x="1630" y="916"/>
                  </a:cubicBezTo>
                  <a:close/>
                  <a:moveTo>
                    <a:pt x="22" y="857"/>
                  </a:moveTo>
                  <a:cubicBezTo>
                    <a:pt x="10" y="857"/>
                    <a:pt x="0" y="847"/>
                    <a:pt x="0" y="835"/>
                  </a:cubicBezTo>
                  <a:cubicBezTo>
                    <a:pt x="0" y="826"/>
                    <a:pt x="0" y="826"/>
                    <a:pt x="0" y="826"/>
                  </a:cubicBezTo>
                  <a:cubicBezTo>
                    <a:pt x="0" y="825"/>
                    <a:pt x="0" y="823"/>
                    <a:pt x="0" y="821"/>
                  </a:cubicBezTo>
                  <a:cubicBezTo>
                    <a:pt x="0" y="819"/>
                    <a:pt x="0" y="818"/>
                    <a:pt x="0" y="816"/>
                  </a:cubicBezTo>
                  <a:cubicBezTo>
                    <a:pt x="0" y="807"/>
                    <a:pt x="0" y="807"/>
                    <a:pt x="0" y="807"/>
                  </a:cubicBezTo>
                  <a:cubicBezTo>
                    <a:pt x="0" y="795"/>
                    <a:pt x="11" y="785"/>
                    <a:pt x="22" y="786"/>
                  </a:cubicBezTo>
                  <a:cubicBezTo>
                    <a:pt x="35" y="786"/>
                    <a:pt x="44" y="796"/>
                    <a:pt x="44" y="808"/>
                  </a:cubicBezTo>
                  <a:cubicBezTo>
                    <a:pt x="44" y="817"/>
                    <a:pt x="44" y="817"/>
                    <a:pt x="44" y="817"/>
                  </a:cubicBezTo>
                  <a:cubicBezTo>
                    <a:pt x="44" y="818"/>
                    <a:pt x="43" y="820"/>
                    <a:pt x="43" y="821"/>
                  </a:cubicBezTo>
                  <a:cubicBezTo>
                    <a:pt x="43" y="823"/>
                    <a:pt x="44" y="825"/>
                    <a:pt x="44" y="826"/>
                  </a:cubicBezTo>
                  <a:cubicBezTo>
                    <a:pt x="44" y="835"/>
                    <a:pt x="44" y="835"/>
                    <a:pt x="44" y="835"/>
                  </a:cubicBezTo>
                  <a:cubicBezTo>
                    <a:pt x="44" y="847"/>
                    <a:pt x="34" y="857"/>
                    <a:pt x="22" y="857"/>
                  </a:cubicBezTo>
                  <a:close/>
                  <a:moveTo>
                    <a:pt x="1631" y="799"/>
                  </a:moveTo>
                  <a:cubicBezTo>
                    <a:pt x="1620" y="799"/>
                    <a:pt x="1610" y="790"/>
                    <a:pt x="1609" y="779"/>
                  </a:cubicBezTo>
                  <a:cubicBezTo>
                    <a:pt x="1609" y="770"/>
                    <a:pt x="1609" y="770"/>
                    <a:pt x="1609" y="770"/>
                  </a:cubicBezTo>
                  <a:cubicBezTo>
                    <a:pt x="1608" y="758"/>
                    <a:pt x="1617" y="748"/>
                    <a:pt x="1629" y="747"/>
                  </a:cubicBezTo>
                  <a:cubicBezTo>
                    <a:pt x="1641" y="746"/>
                    <a:pt x="1652" y="755"/>
                    <a:pt x="1653" y="767"/>
                  </a:cubicBezTo>
                  <a:cubicBezTo>
                    <a:pt x="1653" y="776"/>
                    <a:pt x="1653" y="776"/>
                    <a:pt x="1653" y="776"/>
                  </a:cubicBezTo>
                  <a:cubicBezTo>
                    <a:pt x="1654" y="788"/>
                    <a:pt x="1645" y="798"/>
                    <a:pt x="1633" y="799"/>
                  </a:cubicBezTo>
                  <a:cubicBezTo>
                    <a:pt x="1632" y="799"/>
                    <a:pt x="1632" y="799"/>
                    <a:pt x="1631" y="799"/>
                  </a:cubicBezTo>
                  <a:close/>
                  <a:moveTo>
                    <a:pt x="32" y="721"/>
                  </a:moveTo>
                  <a:cubicBezTo>
                    <a:pt x="31" y="721"/>
                    <a:pt x="29" y="721"/>
                    <a:pt x="28" y="721"/>
                  </a:cubicBezTo>
                  <a:cubicBezTo>
                    <a:pt x="16" y="719"/>
                    <a:pt x="8" y="708"/>
                    <a:pt x="10" y="696"/>
                  </a:cubicBezTo>
                  <a:cubicBezTo>
                    <a:pt x="12" y="687"/>
                    <a:pt x="12" y="687"/>
                    <a:pt x="12" y="687"/>
                  </a:cubicBezTo>
                  <a:cubicBezTo>
                    <a:pt x="14" y="675"/>
                    <a:pt x="25" y="667"/>
                    <a:pt x="37" y="669"/>
                  </a:cubicBezTo>
                  <a:cubicBezTo>
                    <a:pt x="49" y="671"/>
                    <a:pt x="57" y="683"/>
                    <a:pt x="55" y="694"/>
                  </a:cubicBezTo>
                  <a:cubicBezTo>
                    <a:pt x="53" y="703"/>
                    <a:pt x="53" y="703"/>
                    <a:pt x="53" y="703"/>
                  </a:cubicBezTo>
                  <a:cubicBezTo>
                    <a:pt x="52" y="714"/>
                    <a:pt x="42" y="721"/>
                    <a:pt x="32" y="721"/>
                  </a:cubicBezTo>
                  <a:close/>
                  <a:moveTo>
                    <a:pt x="1616" y="683"/>
                  </a:moveTo>
                  <a:cubicBezTo>
                    <a:pt x="1606" y="683"/>
                    <a:pt x="1597" y="676"/>
                    <a:pt x="1594" y="666"/>
                  </a:cubicBezTo>
                  <a:cubicBezTo>
                    <a:pt x="1593" y="657"/>
                    <a:pt x="1593" y="657"/>
                    <a:pt x="1593" y="657"/>
                  </a:cubicBezTo>
                  <a:cubicBezTo>
                    <a:pt x="1590" y="645"/>
                    <a:pt x="1598" y="634"/>
                    <a:pt x="1609" y="631"/>
                  </a:cubicBezTo>
                  <a:cubicBezTo>
                    <a:pt x="1621" y="629"/>
                    <a:pt x="1633" y="636"/>
                    <a:pt x="1635" y="648"/>
                  </a:cubicBezTo>
                  <a:cubicBezTo>
                    <a:pt x="1637" y="657"/>
                    <a:pt x="1637" y="657"/>
                    <a:pt x="1637" y="657"/>
                  </a:cubicBezTo>
                  <a:cubicBezTo>
                    <a:pt x="1640" y="668"/>
                    <a:pt x="1632" y="680"/>
                    <a:pt x="1620" y="683"/>
                  </a:cubicBezTo>
                  <a:cubicBezTo>
                    <a:pt x="1619" y="683"/>
                    <a:pt x="1617" y="683"/>
                    <a:pt x="1616" y="683"/>
                  </a:cubicBezTo>
                  <a:close/>
                  <a:moveTo>
                    <a:pt x="58" y="607"/>
                  </a:moveTo>
                  <a:cubicBezTo>
                    <a:pt x="56" y="607"/>
                    <a:pt x="54" y="607"/>
                    <a:pt x="52" y="606"/>
                  </a:cubicBezTo>
                  <a:cubicBezTo>
                    <a:pt x="40" y="603"/>
                    <a:pt x="34" y="590"/>
                    <a:pt x="38" y="579"/>
                  </a:cubicBezTo>
                  <a:cubicBezTo>
                    <a:pt x="40" y="570"/>
                    <a:pt x="40" y="570"/>
                    <a:pt x="40" y="570"/>
                  </a:cubicBezTo>
                  <a:cubicBezTo>
                    <a:pt x="44" y="559"/>
                    <a:pt x="56" y="553"/>
                    <a:pt x="68" y="556"/>
                  </a:cubicBezTo>
                  <a:cubicBezTo>
                    <a:pt x="79" y="560"/>
                    <a:pt x="86" y="572"/>
                    <a:pt x="82" y="584"/>
                  </a:cubicBezTo>
                  <a:cubicBezTo>
                    <a:pt x="79" y="592"/>
                    <a:pt x="79" y="592"/>
                    <a:pt x="79" y="592"/>
                  </a:cubicBezTo>
                  <a:cubicBezTo>
                    <a:pt x="76" y="601"/>
                    <a:pt x="68" y="607"/>
                    <a:pt x="58" y="607"/>
                  </a:cubicBezTo>
                  <a:close/>
                  <a:moveTo>
                    <a:pt x="1584" y="570"/>
                  </a:moveTo>
                  <a:cubicBezTo>
                    <a:pt x="1575" y="570"/>
                    <a:pt x="1566" y="565"/>
                    <a:pt x="1563" y="556"/>
                  </a:cubicBezTo>
                  <a:cubicBezTo>
                    <a:pt x="1560" y="548"/>
                    <a:pt x="1560" y="548"/>
                    <a:pt x="1560" y="548"/>
                  </a:cubicBezTo>
                  <a:cubicBezTo>
                    <a:pt x="1556" y="537"/>
                    <a:pt x="1561" y="524"/>
                    <a:pt x="1573" y="520"/>
                  </a:cubicBezTo>
                  <a:cubicBezTo>
                    <a:pt x="1584" y="515"/>
                    <a:pt x="1597" y="521"/>
                    <a:pt x="1601" y="532"/>
                  </a:cubicBezTo>
                  <a:cubicBezTo>
                    <a:pt x="1604" y="541"/>
                    <a:pt x="1604" y="541"/>
                    <a:pt x="1604" y="541"/>
                  </a:cubicBezTo>
                  <a:cubicBezTo>
                    <a:pt x="1608" y="552"/>
                    <a:pt x="1603" y="565"/>
                    <a:pt x="1591" y="569"/>
                  </a:cubicBezTo>
                  <a:cubicBezTo>
                    <a:pt x="1589" y="570"/>
                    <a:pt x="1586" y="570"/>
                    <a:pt x="1584" y="570"/>
                  </a:cubicBezTo>
                  <a:close/>
                  <a:moveTo>
                    <a:pt x="102" y="498"/>
                  </a:moveTo>
                  <a:cubicBezTo>
                    <a:pt x="98" y="498"/>
                    <a:pt x="95" y="498"/>
                    <a:pt x="92" y="496"/>
                  </a:cubicBezTo>
                  <a:cubicBezTo>
                    <a:pt x="81" y="491"/>
                    <a:pt x="77" y="478"/>
                    <a:pt x="82" y="467"/>
                  </a:cubicBezTo>
                  <a:cubicBezTo>
                    <a:pt x="86" y="459"/>
                    <a:pt x="86" y="459"/>
                    <a:pt x="86" y="459"/>
                  </a:cubicBezTo>
                  <a:cubicBezTo>
                    <a:pt x="91" y="448"/>
                    <a:pt x="104" y="444"/>
                    <a:pt x="115" y="449"/>
                  </a:cubicBezTo>
                  <a:cubicBezTo>
                    <a:pt x="126" y="454"/>
                    <a:pt x="130" y="468"/>
                    <a:pt x="125" y="478"/>
                  </a:cubicBezTo>
                  <a:cubicBezTo>
                    <a:pt x="121" y="486"/>
                    <a:pt x="121" y="486"/>
                    <a:pt x="121" y="486"/>
                  </a:cubicBezTo>
                  <a:cubicBezTo>
                    <a:pt x="117" y="494"/>
                    <a:pt x="110" y="498"/>
                    <a:pt x="102" y="498"/>
                  </a:cubicBezTo>
                  <a:close/>
                  <a:moveTo>
                    <a:pt x="1535" y="463"/>
                  </a:moveTo>
                  <a:cubicBezTo>
                    <a:pt x="1527" y="463"/>
                    <a:pt x="1520" y="459"/>
                    <a:pt x="1516" y="452"/>
                  </a:cubicBezTo>
                  <a:cubicBezTo>
                    <a:pt x="1512" y="445"/>
                    <a:pt x="1512" y="445"/>
                    <a:pt x="1512" y="445"/>
                  </a:cubicBezTo>
                  <a:cubicBezTo>
                    <a:pt x="1506" y="434"/>
                    <a:pt x="1510" y="421"/>
                    <a:pt x="1520" y="415"/>
                  </a:cubicBezTo>
                  <a:cubicBezTo>
                    <a:pt x="1531" y="409"/>
                    <a:pt x="1544" y="413"/>
                    <a:pt x="1550" y="423"/>
                  </a:cubicBezTo>
                  <a:cubicBezTo>
                    <a:pt x="1554" y="431"/>
                    <a:pt x="1554" y="431"/>
                    <a:pt x="1554" y="431"/>
                  </a:cubicBezTo>
                  <a:cubicBezTo>
                    <a:pt x="1560" y="442"/>
                    <a:pt x="1556" y="455"/>
                    <a:pt x="1546" y="461"/>
                  </a:cubicBezTo>
                  <a:cubicBezTo>
                    <a:pt x="1542" y="463"/>
                    <a:pt x="1539" y="463"/>
                    <a:pt x="1535" y="463"/>
                  </a:cubicBezTo>
                  <a:close/>
                  <a:moveTo>
                    <a:pt x="160" y="397"/>
                  </a:moveTo>
                  <a:cubicBezTo>
                    <a:pt x="156" y="397"/>
                    <a:pt x="151" y="396"/>
                    <a:pt x="148" y="393"/>
                  </a:cubicBezTo>
                  <a:cubicBezTo>
                    <a:pt x="138" y="386"/>
                    <a:pt x="135" y="373"/>
                    <a:pt x="142" y="363"/>
                  </a:cubicBezTo>
                  <a:cubicBezTo>
                    <a:pt x="147" y="355"/>
                    <a:pt x="147" y="355"/>
                    <a:pt x="147" y="355"/>
                  </a:cubicBezTo>
                  <a:cubicBezTo>
                    <a:pt x="154" y="345"/>
                    <a:pt x="167" y="343"/>
                    <a:pt x="177" y="350"/>
                  </a:cubicBezTo>
                  <a:cubicBezTo>
                    <a:pt x="187" y="357"/>
                    <a:pt x="190" y="370"/>
                    <a:pt x="183" y="380"/>
                  </a:cubicBezTo>
                  <a:cubicBezTo>
                    <a:pt x="178" y="387"/>
                    <a:pt x="178" y="387"/>
                    <a:pt x="178" y="387"/>
                  </a:cubicBezTo>
                  <a:cubicBezTo>
                    <a:pt x="174" y="393"/>
                    <a:pt x="167" y="397"/>
                    <a:pt x="160" y="397"/>
                  </a:cubicBezTo>
                  <a:close/>
                  <a:moveTo>
                    <a:pt x="1472" y="365"/>
                  </a:moveTo>
                  <a:cubicBezTo>
                    <a:pt x="1465" y="365"/>
                    <a:pt x="1459" y="362"/>
                    <a:pt x="1454" y="356"/>
                  </a:cubicBezTo>
                  <a:cubicBezTo>
                    <a:pt x="1449" y="349"/>
                    <a:pt x="1449" y="349"/>
                    <a:pt x="1449" y="349"/>
                  </a:cubicBezTo>
                  <a:cubicBezTo>
                    <a:pt x="1442" y="340"/>
                    <a:pt x="1444" y="326"/>
                    <a:pt x="1453" y="319"/>
                  </a:cubicBezTo>
                  <a:cubicBezTo>
                    <a:pt x="1463" y="311"/>
                    <a:pt x="1477" y="313"/>
                    <a:pt x="1484" y="323"/>
                  </a:cubicBezTo>
                  <a:cubicBezTo>
                    <a:pt x="1489" y="330"/>
                    <a:pt x="1489" y="330"/>
                    <a:pt x="1489" y="330"/>
                  </a:cubicBezTo>
                  <a:cubicBezTo>
                    <a:pt x="1497" y="339"/>
                    <a:pt x="1495" y="353"/>
                    <a:pt x="1485" y="360"/>
                  </a:cubicBezTo>
                  <a:cubicBezTo>
                    <a:pt x="1481" y="363"/>
                    <a:pt x="1476" y="365"/>
                    <a:pt x="1472" y="365"/>
                  </a:cubicBezTo>
                  <a:close/>
                  <a:moveTo>
                    <a:pt x="233" y="305"/>
                  </a:moveTo>
                  <a:cubicBezTo>
                    <a:pt x="227" y="305"/>
                    <a:pt x="222" y="303"/>
                    <a:pt x="218" y="299"/>
                  </a:cubicBezTo>
                  <a:cubicBezTo>
                    <a:pt x="209" y="291"/>
                    <a:pt x="208" y="277"/>
                    <a:pt x="216" y="268"/>
                  </a:cubicBezTo>
                  <a:cubicBezTo>
                    <a:pt x="222" y="262"/>
                    <a:pt x="222" y="262"/>
                    <a:pt x="222" y="262"/>
                  </a:cubicBezTo>
                  <a:cubicBezTo>
                    <a:pt x="231" y="253"/>
                    <a:pt x="245" y="252"/>
                    <a:pt x="253" y="261"/>
                  </a:cubicBezTo>
                  <a:cubicBezTo>
                    <a:pt x="262" y="269"/>
                    <a:pt x="263" y="283"/>
                    <a:pt x="254" y="292"/>
                  </a:cubicBezTo>
                  <a:cubicBezTo>
                    <a:pt x="249" y="298"/>
                    <a:pt x="249" y="298"/>
                    <a:pt x="249" y="298"/>
                  </a:cubicBezTo>
                  <a:cubicBezTo>
                    <a:pt x="244" y="302"/>
                    <a:pt x="238" y="305"/>
                    <a:pt x="233" y="305"/>
                  </a:cubicBezTo>
                  <a:close/>
                  <a:moveTo>
                    <a:pt x="1395" y="277"/>
                  </a:moveTo>
                  <a:cubicBezTo>
                    <a:pt x="1389" y="277"/>
                    <a:pt x="1384" y="274"/>
                    <a:pt x="1379" y="270"/>
                  </a:cubicBezTo>
                  <a:cubicBezTo>
                    <a:pt x="1373" y="264"/>
                    <a:pt x="1373" y="264"/>
                    <a:pt x="1373" y="264"/>
                  </a:cubicBezTo>
                  <a:cubicBezTo>
                    <a:pt x="1365" y="256"/>
                    <a:pt x="1364" y="242"/>
                    <a:pt x="1373" y="233"/>
                  </a:cubicBezTo>
                  <a:cubicBezTo>
                    <a:pt x="1381" y="225"/>
                    <a:pt x="1395" y="224"/>
                    <a:pt x="1404" y="233"/>
                  </a:cubicBezTo>
                  <a:cubicBezTo>
                    <a:pt x="1410" y="239"/>
                    <a:pt x="1410" y="239"/>
                    <a:pt x="1410" y="239"/>
                  </a:cubicBezTo>
                  <a:cubicBezTo>
                    <a:pt x="1419" y="248"/>
                    <a:pt x="1419" y="261"/>
                    <a:pt x="1410" y="270"/>
                  </a:cubicBezTo>
                  <a:cubicBezTo>
                    <a:pt x="1406" y="274"/>
                    <a:pt x="1400" y="277"/>
                    <a:pt x="1395" y="277"/>
                  </a:cubicBezTo>
                  <a:close/>
                  <a:moveTo>
                    <a:pt x="318" y="224"/>
                  </a:moveTo>
                  <a:cubicBezTo>
                    <a:pt x="311" y="224"/>
                    <a:pt x="305" y="222"/>
                    <a:pt x="301" y="216"/>
                  </a:cubicBezTo>
                  <a:cubicBezTo>
                    <a:pt x="293" y="207"/>
                    <a:pt x="294" y="193"/>
                    <a:pt x="304" y="186"/>
                  </a:cubicBezTo>
                  <a:cubicBezTo>
                    <a:pt x="311" y="180"/>
                    <a:pt x="311" y="180"/>
                    <a:pt x="311" y="180"/>
                  </a:cubicBezTo>
                  <a:cubicBezTo>
                    <a:pt x="320" y="172"/>
                    <a:pt x="334" y="174"/>
                    <a:pt x="342" y="183"/>
                  </a:cubicBezTo>
                  <a:cubicBezTo>
                    <a:pt x="349" y="193"/>
                    <a:pt x="348" y="207"/>
                    <a:pt x="338" y="214"/>
                  </a:cubicBezTo>
                  <a:cubicBezTo>
                    <a:pt x="332" y="219"/>
                    <a:pt x="332" y="219"/>
                    <a:pt x="332" y="219"/>
                  </a:cubicBezTo>
                  <a:cubicBezTo>
                    <a:pt x="328" y="223"/>
                    <a:pt x="323" y="224"/>
                    <a:pt x="318" y="224"/>
                  </a:cubicBezTo>
                  <a:close/>
                  <a:moveTo>
                    <a:pt x="1306" y="200"/>
                  </a:moveTo>
                  <a:cubicBezTo>
                    <a:pt x="1301" y="200"/>
                    <a:pt x="1297" y="199"/>
                    <a:pt x="1293" y="196"/>
                  </a:cubicBezTo>
                  <a:cubicBezTo>
                    <a:pt x="1286" y="191"/>
                    <a:pt x="1286" y="191"/>
                    <a:pt x="1286" y="191"/>
                  </a:cubicBezTo>
                  <a:cubicBezTo>
                    <a:pt x="1276" y="184"/>
                    <a:pt x="1274" y="170"/>
                    <a:pt x="1281" y="160"/>
                  </a:cubicBezTo>
                  <a:cubicBezTo>
                    <a:pt x="1288" y="151"/>
                    <a:pt x="1302" y="148"/>
                    <a:pt x="1312" y="155"/>
                  </a:cubicBezTo>
                  <a:cubicBezTo>
                    <a:pt x="1319" y="161"/>
                    <a:pt x="1319" y="161"/>
                    <a:pt x="1319" y="161"/>
                  </a:cubicBezTo>
                  <a:cubicBezTo>
                    <a:pt x="1329" y="168"/>
                    <a:pt x="1331" y="182"/>
                    <a:pt x="1323" y="191"/>
                  </a:cubicBezTo>
                  <a:cubicBezTo>
                    <a:pt x="1319" y="197"/>
                    <a:pt x="1313" y="200"/>
                    <a:pt x="1306" y="200"/>
                  </a:cubicBezTo>
                  <a:close/>
                  <a:moveTo>
                    <a:pt x="414" y="157"/>
                  </a:moveTo>
                  <a:cubicBezTo>
                    <a:pt x="406" y="157"/>
                    <a:pt x="399" y="153"/>
                    <a:pt x="395" y="146"/>
                  </a:cubicBezTo>
                  <a:cubicBezTo>
                    <a:pt x="389" y="136"/>
                    <a:pt x="392" y="122"/>
                    <a:pt x="402" y="116"/>
                  </a:cubicBezTo>
                  <a:cubicBezTo>
                    <a:pt x="410" y="112"/>
                    <a:pt x="410" y="112"/>
                    <a:pt x="410" y="112"/>
                  </a:cubicBezTo>
                  <a:cubicBezTo>
                    <a:pt x="420" y="106"/>
                    <a:pt x="434" y="109"/>
                    <a:pt x="440" y="120"/>
                  </a:cubicBezTo>
                  <a:cubicBezTo>
                    <a:pt x="446" y="130"/>
                    <a:pt x="443" y="143"/>
                    <a:pt x="432" y="149"/>
                  </a:cubicBezTo>
                  <a:cubicBezTo>
                    <a:pt x="425" y="154"/>
                    <a:pt x="425" y="154"/>
                    <a:pt x="425" y="154"/>
                  </a:cubicBezTo>
                  <a:cubicBezTo>
                    <a:pt x="421" y="156"/>
                    <a:pt x="417" y="157"/>
                    <a:pt x="414" y="157"/>
                  </a:cubicBezTo>
                  <a:close/>
                  <a:moveTo>
                    <a:pt x="1207" y="138"/>
                  </a:moveTo>
                  <a:cubicBezTo>
                    <a:pt x="1203" y="138"/>
                    <a:pt x="1200" y="137"/>
                    <a:pt x="1197" y="135"/>
                  </a:cubicBezTo>
                  <a:cubicBezTo>
                    <a:pt x="1189" y="131"/>
                    <a:pt x="1189" y="131"/>
                    <a:pt x="1189" y="131"/>
                  </a:cubicBezTo>
                  <a:cubicBezTo>
                    <a:pt x="1178" y="125"/>
                    <a:pt x="1174" y="112"/>
                    <a:pt x="1180" y="101"/>
                  </a:cubicBezTo>
                  <a:cubicBezTo>
                    <a:pt x="1185" y="91"/>
                    <a:pt x="1199" y="87"/>
                    <a:pt x="1209" y="92"/>
                  </a:cubicBezTo>
                  <a:cubicBezTo>
                    <a:pt x="1217" y="96"/>
                    <a:pt x="1217" y="96"/>
                    <a:pt x="1217" y="96"/>
                  </a:cubicBezTo>
                  <a:cubicBezTo>
                    <a:pt x="1228" y="102"/>
                    <a:pt x="1232" y="115"/>
                    <a:pt x="1226" y="126"/>
                  </a:cubicBezTo>
                  <a:cubicBezTo>
                    <a:pt x="1222" y="133"/>
                    <a:pt x="1215" y="138"/>
                    <a:pt x="1207" y="138"/>
                  </a:cubicBezTo>
                  <a:close/>
                  <a:moveTo>
                    <a:pt x="518" y="104"/>
                  </a:moveTo>
                  <a:cubicBezTo>
                    <a:pt x="510" y="104"/>
                    <a:pt x="502" y="99"/>
                    <a:pt x="498" y="91"/>
                  </a:cubicBezTo>
                  <a:cubicBezTo>
                    <a:pt x="493" y="79"/>
                    <a:pt x="499" y="67"/>
                    <a:pt x="510" y="62"/>
                  </a:cubicBezTo>
                  <a:cubicBezTo>
                    <a:pt x="518" y="59"/>
                    <a:pt x="518" y="59"/>
                    <a:pt x="518" y="59"/>
                  </a:cubicBezTo>
                  <a:cubicBezTo>
                    <a:pt x="529" y="54"/>
                    <a:pt x="542" y="59"/>
                    <a:pt x="547" y="71"/>
                  </a:cubicBezTo>
                  <a:cubicBezTo>
                    <a:pt x="551" y="82"/>
                    <a:pt x="546" y="95"/>
                    <a:pt x="535" y="99"/>
                  </a:cubicBezTo>
                  <a:cubicBezTo>
                    <a:pt x="527" y="102"/>
                    <a:pt x="527" y="102"/>
                    <a:pt x="527" y="102"/>
                  </a:cubicBezTo>
                  <a:cubicBezTo>
                    <a:pt x="524" y="104"/>
                    <a:pt x="521" y="104"/>
                    <a:pt x="518" y="104"/>
                  </a:cubicBezTo>
                  <a:close/>
                  <a:moveTo>
                    <a:pt x="1100" y="90"/>
                  </a:moveTo>
                  <a:cubicBezTo>
                    <a:pt x="1097" y="90"/>
                    <a:pt x="1095" y="90"/>
                    <a:pt x="1092" y="89"/>
                  </a:cubicBezTo>
                  <a:cubicBezTo>
                    <a:pt x="1084" y="86"/>
                    <a:pt x="1084" y="86"/>
                    <a:pt x="1084" y="86"/>
                  </a:cubicBezTo>
                  <a:cubicBezTo>
                    <a:pt x="1073" y="82"/>
                    <a:pt x="1067" y="69"/>
                    <a:pt x="1071" y="58"/>
                  </a:cubicBezTo>
                  <a:cubicBezTo>
                    <a:pt x="1075" y="47"/>
                    <a:pt x="1087" y="41"/>
                    <a:pt x="1099" y="44"/>
                  </a:cubicBezTo>
                  <a:cubicBezTo>
                    <a:pt x="1107" y="47"/>
                    <a:pt x="1107" y="47"/>
                    <a:pt x="1107" y="47"/>
                  </a:cubicBezTo>
                  <a:cubicBezTo>
                    <a:pt x="1119" y="52"/>
                    <a:pt x="1125" y="64"/>
                    <a:pt x="1120" y="76"/>
                  </a:cubicBezTo>
                  <a:cubicBezTo>
                    <a:pt x="1117" y="84"/>
                    <a:pt x="1109" y="90"/>
                    <a:pt x="1100" y="90"/>
                  </a:cubicBezTo>
                  <a:close/>
                  <a:moveTo>
                    <a:pt x="630" y="67"/>
                  </a:moveTo>
                  <a:cubicBezTo>
                    <a:pt x="620" y="67"/>
                    <a:pt x="611" y="61"/>
                    <a:pt x="608" y="51"/>
                  </a:cubicBezTo>
                  <a:cubicBezTo>
                    <a:pt x="605" y="39"/>
                    <a:pt x="612" y="27"/>
                    <a:pt x="624" y="24"/>
                  </a:cubicBezTo>
                  <a:cubicBezTo>
                    <a:pt x="633" y="22"/>
                    <a:pt x="633" y="22"/>
                    <a:pt x="633" y="22"/>
                  </a:cubicBezTo>
                  <a:cubicBezTo>
                    <a:pt x="645" y="19"/>
                    <a:pt x="656" y="26"/>
                    <a:pt x="659" y="38"/>
                  </a:cubicBezTo>
                  <a:cubicBezTo>
                    <a:pt x="662" y="50"/>
                    <a:pt x="655" y="62"/>
                    <a:pt x="643" y="64"/>
                  </a:cubicBezTo>
                  <a:cubicBezTo>
                    <a:pt x="635" y="66"/>
                    <a:pt x="635" y="66"/>
                    <a:pt x="635" y="66"/>
                  </a:cubicBezTo>
                  <a:cubicBezTo>
                    <a:pt x="633" y="67"/>
                    <a:pt x="631" y="67"/>
                    <a:pt x="630" y="67"/>
                  </a:cubicBezTo>
                  <a:close/>
                  <a:moveTo>
                    <a:pt x="987" y="59"/>
                  </a:moveTo>
                  <a:cubicBezTo>
                    <a:pt x="986" y="59"/>
                    <a:pt x="984" y="58"/>
                    <a:pt x="983" y="58"/>
                  </a:cubicBezTo>
                  <a:cubicBezTo>
                    <a:pt x="974" y="56"/>
                    <a:pt x="974" y="56"/>
                    <a:pt x="974" y="56"/>
                  </a:cubicBezTo>
                  <a:cubicBezTo>
                    <a:pt x="962" y="54"/>
                    <a:pt x="955" y="43"/>
                    <a:pt x="957" y="31"/>
                  </a:cubicBezTo>
                  <a:cubicBezTo>
                    <a:pt x="959" y="19"/>
                    <a:pt x="971" y="11"/>
                    <a:pt x="983" y="13"/>
                  </a:cubicBezTo>
                  <a:cubicBezTo>
                    <a:pt x="991" y="15"/>
                    <a:pt x="991" y="15"/>
                    <a:pt x="991" y="15"/>
                  </a:cubicBezTo>
                  <a:cubicBezTo>
                    <a:pt x="1003" y="18"/>
                    <a:pt x="1011" y="29"/>
                    <a:pt x="1008" y="41"/>
                  </a:cubicBezTo>
                  <a:cubicBezTo>
                    <a:pt x="1006" y="51"/>
                    <a:pt x="997" y="59"/>
                    <a:pt x="987" y="59"/>
                  </a:cubicBezTo>
                  <a:close/>
                  <a:moveTo>
                    <a:pt x="745" y="47"/>
                  </a:moveTo>
                  <a:cubicBezTo>
                    <a:pt x="734" y="47"/>
                    <a:pt x="724" y="38"/>
                    <a:pt x="723" y="27"/>
                  </a:cubicBezTo>
                  <a:cubicBezTo>
                    <a:pt x="722" y="15"/>
                    <a:pt x="731" y="4"/>
                    <a:pt x="743" y="3"/>
                  </a:cubicBezTo>
                  <a:cubicBezTo>
                    <a:pt x="752" y="2"/>
                    <a:pt x="752" y="2"/>
                    <a:pt x="752" y="2"/>
                  </a:cubicBezTo>
                  <a:cubicBezTo>
                    <a:pt x="764" y="1"/>
                    <a:pt x="774" y="10"/>
                    <a:pt x="775" y="22"/>
                  </a:cubicBezTo>
                  <a:cubicBezTo>
                    <a:pt x="776" y="34"/>
                    <a:pt x="768" y="45"/>
                    <a:pt x="756" y="46"/>
                  </a:cubicBezTo>
                  <a:cubicBezTo>
                    <a:pt x="747" y="47"/>
                    <a:pt x="747" y="47"/>
                    <a:pt x="747" y="47"/>
                  </a:cubicBezTo>
                  <a:cubicBezTo>
                    <a:pt x="746" y="47"/>
                    <a:pt x="746" y="47"/>
                    <a:pt x="745" y="47"/>
                  </a:cubicBezTo>
                  <a:close/>
                  <a:moveTo>
                    <a:pt x="871" y="44"/>
                  </a:moveTo>
                  <a:cubicBezTo>
                    <a:pt x="870" y="44"/>
                    <a:pt x="870" y="44"/>
                    <a:pt x="870" y="44"/>
                  </a:cubicBezTo>
                  <a:cubicBezTo>
                    <a:pt x="861" y="43"/>
                    <a:pt x="861" y="43"/>
                    <a:pt x="861" y="43"/>
                  </a:cubicBezTo>
                  <a:cubicBezTo>
                    <a:pt x="849" y="43"/>
                    <a:pt x="840" y="33"/>
                    <a:pt x="840" y="21"/>
                  </a:cubicBezTo>
                  <a:cubicBezTo>
                    <a:pt x="841" y="8"/>
                    <a:pt x="851" y="0"/>
                    <a:pt x="863" y="0"/>
                  </a:cubicBezTo>
                  <a:cubicBezTo>
                    <a:pt x="872" y="0"/>
                    <a:pt x="872" y="0"/>
                    <a:pt x="872" y="0"/>
                  </a:cubicBezTo>
                  <a:cubicBezTo>
                    <a:pt x="884" y="1"/>
                    <a:pt x="893" y="11"/>
                    <a:pt x="893" y="23"/>
                  </a:cubicBezTo>
                  <a:cubicBezTo>
                    <a:pt x="892" y="35"/>
                    <a:pt x="882" y="44"/>
                    <a:pt x="87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08" name="Rectangle 51"/>
            <p:cNvSpPr>
              <a:spLocks noChangeArrowheads="1"/>
            </p:cNvSpPr>
            <p:nvPr userDrawn="1"/>
          </p:nvSpPr>
          <p:spPr bwMode="auto">
            <a:xfrm>
              <a:off x="9918701" y="4362450"/>
              <a:ext cx="987425" cy="557213"/>
            </a:xfrm>
            <a:prstGeom prst="rect">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18" name="Freeform 52"/>
            <p:cNvSpPr>
              <a:spLocks/>
            </p:cNvSpPr>
            <p:nvPr userDrawn="1"/>
          </p:nvSpPr>
          <p:spPr bwMode="auto">
            <a:xfrm>
              <a:off x="10412413" y="4362450"/>
              <a:ext cx="493713" cy="557213"/>
            </a:xfrm>
            <a:custGeom>
              <a:avLst/>
              <a:gdLst>
                <a:gd name="T0" fmla="*/ 311 w 311"/>
                <a:gd name="T1" fmla="*/ 351 h 351"/>
                <a:gd name="T2" fmla="*/ 0 w 311"/>
                <a:gd name="T3" fmla="*/ 175 h 351"/>
                <a:gd name="T4" fmla="*/ 311 w 311"/>
                <a:gd name="T5" fmla="*/ 0 h 351"/>
                <a:gd name="T6" fmla="*/ 311 w 311"/>
                <a:gd name="T7" fmla="*/ 351 h 351"/>
              </a:gdLst>
              <a:ahLst/>
              <a:cxnLst>
                <a:cxn ang="0">
                  <a:pos x="T0" y="T1"/>
                </a:cxn>
                <a:cxn ang="0">
                  <a:pos x="T2" y="T3"/>
                </a:cxn>
                <a:cxn ang="0">
                  <a:pos x="T4" y="T5"/>
                </a:cxn>
                <a:cxn ang="0">
                  <a:pos x="T6" y="T7"/>
                </a:cxn>
              </a:cxnLst>
              <a:rect l="0" t="0" r="r" b="b"/>
              <a:pathLst>
                <a:path w="311" h="351">
                  <a:moveTo>
                    <a:pt x="311" y="351"/>
                  </a:moveTo>
                  <a:lnTo>
                    <a:pt x="0" y="175"/>
                  </a:lnTo>
                  <a:lnTo>
                    <a:pt x="311" y="0"/>
                  </a:lnTo>
                  <a:lnTo>
                    <a:pt x="311" y="351"/>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19" name="Freeform 53"/>
            <p:cNvSpPr>
              <a:spLocks/>
            </p:cNvSpPr>
            <p:nvPr userDrawn="1"/>
          </p:nvSpPr>
          <p:spPr bwMode="auto">
            <a:xfrm>
              <a:off x="9918701" y="4362450"/>
              <a:ext cx="493713" cy="557213"/>
            </a:xfrm>
            <a:custGeom>
              <a:avLst/>
              <a:gdLst>
                <a:gd name="T0" fmla="*/ 0 w 311"/>
                <a:gd name="T1" fmla="*/ 351 h 351"/>
                <a:gd name="T2" fmla="*/ 311 w 311"/>
                <a:gd name="T3" fmla="*/ 175 h 351"/>
                <a:gd name="T4" fmla="*/ 0 w 311"/>
                <a:gd name="T5" fmla="*/ 0 h 351"/>
                <a:gd name="T6" fmla="*/ 0 w 311"/>
                <a:gd name="T7" fmla="*/ 351 h 351"/>
              </a:gdLst>
              <a:ahLst/>
              <a:cxnLst>
                <a:cxn ang="0">
                  <a:pos x="T0" y="T1"/>
                </a:cxn>
                <a:cxn ang="0">
                  <a:pos x="T2" y="T3"/>
                </a:cxn>
                <a:cxn ang="0">
                  <a:pos x="T4" y="T5"/>
                </a:cxn>
                <a:cxn ang="0">
                  <a:pos x="T6" y="T7"/>
                </a:cxn>
              </a:cxnLst>
              <a:rect l="0" t="0" r="r" b="b"/>
              <a:pathLst>
                <a:path w="311" h="351">
                  <a:moveTo>
                    <a:pt x="0" y="351"/>
                  </a:moveTo>
                  <a:lnTo>
                    <a:pt x="311" y="175"/>
                  </a:lnTo>
                  <a:lnTo>
                    <a:pt x="0" y="0"/>
                  </a:lnTo>
                  <a:lnTo>
                    <a:pt x="0" y="351"/>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20" name="Freeform 54"/>
            <p:cNvSpPr>
              <a:spLocks/>
            </p:cNvSpPr>
            <p:nvPr userDrawn="1"/>
          </p:nvSpPr>
          <p:spPr bwMode="auto">
            <a:xfrm>
              <a:off x="9918701" y="4362450"/>
              <a:ext cx="987425" cy="406400"/>
            </a:xfrm>
            <a:custGeom>
              <a:avLst/>
              <a:gdLst>
                <a:gd name="T0" fmla="*/ 622 w 622"/>
                <a:gd name="T1" fmla="*/ 0 h 256"/>
                <a:gd name="T2" fmla="*/ 311 w 622"/>
                <a:gd name="T3" fmla="*/ 256 h 256"/>
                <a:gd name="T4" fmla="*/ 0 w 622"/>
                <a:gd name="T5" fmla="*/ 0 h 256"/>
                <a:gd name="T6" fmla="*/ 622 w 622"/>
                <a:gd name="T7" fmla="*/ 0 h 256"/>
              </a:gdLst>
              <a:ahLst/>
              <a:cxnLst>
                <a:cxn ang="0">
                  <a:pos x="T0" y="T1"/>
                </a:cxn>
                <a:cxn ang="0">
                  <a:pos x="T2" y="T3"/>
                </a:cxn>
                <a:cxn ang="0">
                  <a:pos x="T4" y="T5"/>
                </a:cxn>
                <a:cxn ang="0">
                  <a:pos x="T6" y="T7"/>
                </a:cxn>
              </a:cxnLst>
              <a:rect l="0" t="0" r="r" b="b"/>
              <a:pathLst>
                <a:path w="622" h="256">
                  <a:moveTo>
                    <a:pt x="622" y="0"/>
                  </a:moveTo>
                  <a:lnTo>
                    <a:pt x="311" y="256"/>
                  </a:lnTo>
                  <a:lnTo>
                    <a:pt x="0" y="0"/>
                  </a:lnTo>
                  <a:lnTo>
                    <a:pt x="6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22" name="Freeform 56"/>
            <p:cNvSpPr>
              <a:spLocks/>
            </p:cNvSpPr>
            <p:nvPr userDrawn="1"/>
          </p:nvSpPr>
          <p:spPr bwMode="auto">
            <a:xfrm>
              <a:off x="10412413" y="4362450"/>
              <a:ext cx="493713" cy="557213"/>
            </a:xfrm>
            <a:custGeom>
              <a:avLst/>
              <a:gdLst>
                <a:gd name="T0" fmla="*/ 311 w 311"/>
                <a:gd name="T1" fmla="*/ 351 h 351"/>
                <a:gd name="T2" fmla="*/ 0 w 311"/>
                <a:gd name="T3" fmla="*/ 175 h 351"/>
                <a:gd name="T4" fmla="*/ 311 w 311"/>
                <a:gd name="T5" fmla="*/ 0 h 351"/>
                <a:gd name="T6" fmla="*/ 311 w 311"/>
                <a:gd name="T7" fmla="*/ 351 h 351"/>
              </a:gdLst>
              <a:ahLst/>
              <a:cxnLst>
                <a:cxn ang="0">
                  <a:pos x="T0" y="T1"/>
                </a:cxn>
                <a:cxn ang="0">
                  <a:pos x="T2" y="T3"/>
                </a:cxn>
                <a:cxn ang="0">
                  <a:pos x="T4" y="T5"/>
                </a:cxn>
                <a:cxn ang="0">
                  <a:pos x="T6" y="T7"/>
                </a:cxn>
              </a:cxnLst>
              <a:rect l="0" t="0" r="r" b="b"/>
              <a:pathLst>
                <a:path w="311" h="351">
                  <a:moveTo>
                    <a:pt x="311" y="351"/>
                  </a:moveTo>
                  <a:lnTo>
                    <a:pt x="0" y="175"/>
                  </a:lnTo>
                  <a:lnTo>
                    <a:pt x="311" y="0"/>
                  </a:lnTo>
                  <a:lnTo>
                    <a:pt x="311" y="351"/>
                  </a:ln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23" name="Freeform 57"/>
            <p:cNvSpPr>
              <a:spLocks/>
            </p:cNvSpPr>
            <p:nvPr userDrawn="1"/>
          </p:nvSpPr>
          <p:spPr bwMode="auto">
            <a:xfrm>
              <a:off x="9918701" y="4362450"/>
              <a:ext cx="493713" cy="557213"/>
            </a:xfrm>
            <a:custGeom>
              <a:avLst/>
              <a:gdLst>
                <a:gd name="T0" fmla="*/ 0 w 311"/>
                <a:gd name="T1" fmla="*/ 351 h 351"/>
                <a:gd name="T2" fmla="*/ 311 w 311"/>
                <a:gd name="T3" fmla="*/ 175 h 351"/>
                <a:gd name="T4" fmla="*/ 0 w 311"/>
                <a:gd name="T5" fmla="*/ 0 h 351"/>
                <a:gd name="T6" fmla="*/ 0 w 311"/>
                <a:gd name="T7" fmla="*/ 351 h 351"/>
              </a:gdLst>
              <a:ahLst/>
              <a:cxnLst>
                <a:cxn ang="0">
                  <a:pos x="T0" y="T1"/>
                </a:cxn>
                <a:cxn ang="0">
                  <a:pos x="T2" y="T3"/>
                </a:cxn>
                <a:cxn ang="0">
                  <a:pos x="T4" y="T5"/>
                </a:cxn>
                <a:cxn ang="0">
                  <a:pos x="T6" y="T7"/>
                </a:cxn>
              </a:cxnLst>
              <a:rect l="0" t="0" r="r" b="b"/>
              <a:pathLst>
                <a:path w="311" h="351">
                  <a:moveTo>
                    <a:pt x="0" y="351"/>
                  </a:moveTo>
                  <a:lnTo>
                    <a:pt x="311" y="175"/>
                  </a:lnTo>
                  <a:lnTo>
                    <a:pt x="0" y="0"/>
                  </a:lnTo>
                  <a:lnTo>
                    <a:pt x="0" y="351"/>
                  </a:ln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24" name="Freeform 58"/>
            <p:cNvSpPr>
              <a:spLocks/>
            </p:cNvSpPr>
            <p:nvPr userDrawn="1"/>
          </p:nvSpPr>
          <p:spPr bwMode="auto">
            <a:xfrm>
              <a:off x="9918701" y="4362450"/>
              <a:ext cx="987425" cy="406400"/>
            </a:xfrm>
            <a:custGeom>
              <a:avLst/>
              <a:gdLst>
                <a:gd name="T0" fmla="*/ 622 w 622"/>
                <a:gd name="T1" fmla="*/ 0 h 256"/>
                <a:gd name="T2" fmla="*/ 311 w 622"/>
                <a:gd name="T3" fmla="*/ 256 h 256"/>
                <a:gd name="T4" fmla="*/ 0 w 622"/>
                <a:gd name="T5" fmla="*/ 0 h 256"/>
                <a:gd name="T6" fmla="*/ 622 w 622"/>
                <a:gd name="T7" fmla="*/ 0 h 256"/>
              </a:gdLst>
              <a:ahLst/>
              <a:cxnLst>
                <a:cxn ang="0">
                  <a:pos x="T0" y="T1"/>
                </a:cxn>
                <a:cxn ang="0">
                  <a:pos x="T2" y="T3"/>
                </a:cxn>
                <a:cxn ang="0">
                  <a:pos x="T4" y="T5"/>
                </a:cxn>
                <a:cxn ang="0">
                  <a:pos x="T6" y="T7"/>
                </a:cxn>
              </a:cxnLst>
              <a:rect l="0" t="0" r="r" b="b"/>
              <a:pathLst>
                <a:path w="622" h="256">
                  <a:moveTo>
                    <a:pt x="622" y="0"/>
                  </a:moveTo>
                  <a:lnTo>
                    <a:pt x="311" y="256"/>
                  </a:lnTo>
                  <a:lnTo>
                    <a:pt x="0" y="0"/>
                  </a:lnTo>
                  <a:lnTo>
                    <a:pt x="622" y="0"/>
                  </a:ln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25" name="Rectangle 59"/>
            <p:cNvSpPr>
              <a:spLocks noChangeArrowheads="1"/>
            </p:cNvSpPr>
            <p:nvPr userDrawn="1"/>
          </p:nvSpPr>
          <p:spPr bwMode="auto">
            <a:xfrm>
              <a:off x="7991476" y="4694238"/>
              <a:ext cx="711200" cy="309563"/>
            </a:xfrm>
            <a:prstGeom prst="rect">
              <a:avLst/>
            </a:pr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26" name="Rectangle 60"/>
            <p:cNvSpPr>
              <a:spLocks noChangeArrowheads="1"/>
            </p:cNvSpPr>
            <p:nvPr userDrawn="1"/>
          </p:nvSpPr>
          <p:spPr bwMode="auto">
            <a:xfrm>
              <a:off x="7900988" y="4930775"/>
              <a:ext cx="892175" cy="73025"/>
            </a:xfrm>
            <a:prstGeom prst="rect">
              <a:avLst/>
            </a:pr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27" name="Freeform 61"/>
            <p:cNvSpPr>
              <a:spLocks/>
            </p:cNvSpPr>
            <p:nvPr userDrawn="1"/>
          </p:nvSpPr>
          <p:spPr bwMode="auto">
            <a:xfrm>
              <a:off x="7124701" y="2967038"/>
              <a:ext cx="2444750" cy="1782763"/>
            </a:xfrm>
            <a:custGeom>
              <a:avLst/>
              <a:gdLst>
                <a:gd name="T0" fmla="*/ 1540 w 1540"/>
                <a:gd name="T1" fmla="*/ 1077 h 1123"/>
                <a:gd name="T2" fmla="*/ 1494 w 1540"/>
                <a:gd name="T3" fmla="*/ 1123 h 1123"/>
                <a:gd name="T4" fmla="*/ 46 w 1540"/>
                <a:gd name="T5" fmla="*/ 1123 h 1123"/>
                <a:gd name="T6" fmla="*/ 0 w 1540"/>
                <a:gd name="T7" fmla="*/ 1077 h 1123"/>
                <a:gd name="T8" fmla="*/ 0 w 1540"/>
                <a:gd name="T9" fmla="*/ 46 h 1123"/>
                <a:gd name="T10" fmla="*/ 46 w 1540"/>
                <a:gd name="T11" fmla="*/ 0 h 1123"/>
                <a:gd name="T12" fmla="*/ 1494 w 1540"/>
                <a:gd name="T13" fmla="*/ 0 h 1123"/>
                <a:gd name="T14" fmla="*/ 1540 w 1540"/>
                <a:gd name="T15" fmla="*/ 46 h 1123"/>
                <a:gd name="T16" fmla="*/ 1540 w 1540"/>
                <a:gd name="T17" fmla="*/ 1077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0" h="1123">
                  <a:moveTo>
                    <a:pt x="1540" y="1077"/>
                  </a:moveTo>
                  <a:cubicBezTo>
                    <a:pt x="1540" y="1102"/>
                    <a:pt x="1520" y="1123"/>
                    <a:pt x="1494" y="1123"/>
                  </a:cubicBezTo>
                  <a:cubicBezTo>
                    <a:pt x="46" y="1123"/>
                    <a:pt x="46" y="1123"/>
                    <a:pt x="46" y="1123"/>
                  </a:cubicBezTo>
                  <a:cubicBezTo>
                    <a:pt x="20" y="1123"/>
                    <a:pt x="0" y="1102"/>
                    <a:pt x="0" y="1077"/>
                  </a:cubicBezTo>
                  <a:cubicBezTo>
                    <a:pt x="0" y="46"/>
                    <a:pt x="0" y="46"/>
                    <a:pt x="0" y="46"/>
                  </a:cubicBezTo>
                  <a:cubicBezTo>
                    <a:pt x="0" y="20"/>
                    <a:pt x="20" y="0"/>
                    <a:pt x="46" y="0"/>
                  </a:cubicBezTo>
                  <a:cubicBezTo>
                    <a:pt x="1494" y="0"/>
                    <a:pt x="1494" y="0"/>
                    <a:pt x="1494" y="0"/>
                  </a:cubicBezTo>
                  <a:cubicBezTo>
                    <a:pt x="1520" y="0"/>
                    <a:pt x="1540" y="20"/>
                    <a:pt x="1540" y="46"/>
                  </a:cubicBezTo>
                  <a:lnTo>
                    <a:pt x="1540" y="1077"/>
                  </a:ln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792" name="Freeform 62"/>
            <p:cNvSpPr>
              <a:spLocks/>
            </p:cNvSpPr>
            <p:nvPr userDrawn="1"/>
          </p:nvSpPr>
          <p:spPr bwMode="auto">
            <a:xfrm>
              <a:off x="7124701" y="2967038"/>
              <a:ext cx="2444750" cy="1550988"/>
            </a:xfrm>
            <a:custGeom>
              <a:avLst/>
              <a:gdLst>
                <a:gd name="T0" fmla="*/ 1540 w 1540"/>
                <a:gd name="T1" fmla="*/ 977 h 977"/>
                <a:gd name="T2" fmla="*/ 1540 w 1540"/>
                <a:gd name="T3" fmla="*/ 46 h 977"/>
                <a:gd name="T4" fmla="*/ 1494 w 1540"/>
                <a:gd name="T5" fmla="*/ 0 h 977"/>
                <a:gd name="T6" fmla="*/ 46 w 1540"/>
                <a:gd name="T7" fmla="*/ 0 h 977"/>
                <a:gd name="T8" fmla="*/ 0 w 1540"/>
                <a:gd name="T9" fmla="*/ 46 h 977"/>
                <a:gd name="T10" fmla="*/ 0 w 1540"/>
                <a:gd name="T11" fmla="*/ 977 h 977"/>
                <a:gd name="T12" fmla="*/ 1540 w 1540"/>
                <a:gd name="T13" fmla="*/ 977 h 977"/>
              </a:gdLst>
              <a:ahLst/>
              <a:cxnLst>
                <a:cxn ang="0">
                  <a:pos x="T0" y="T1"/>
                </a:cxn>
                <a:cxn ang="0">
                  <a:pos x="T2" y="T3"/>
                </a:cxn>
                <a:cxn ang="0">
                  <a:pos x="T4" y="T5"/>
                </a:cxn>
                <a:cxn ang="0">
                  <a:pos x="T6" y="T7"/>
                </a:cxn>
                <a:cxn ang="0">
                  <a:pos x="T8" y="T9"/>
                </a:cxn>
                <a:cxn ang="0">
                  <a:pos x="T10" y="T11"/>
                </a:cxn>
                <a:cxn ang="0">
                  <a:pos x="T12" y="T13"/>
                </a:cxn>
              </a:cxnLst>
              <a:rect l="0" t="0" r="r" b="b"/>
              <a:pathLst>
                <a:path w="1540" h="977">
                  <a:moveTo>
                    <a:pt x="1540" y="977"/>
                  </a:moveTo>
                  <a:cubicBezTo>
                    <a:pt x="1540" y="46"/>
                    <a:pt x="1540" y="46"/>
                    <a:pt x="1540" y="46"/>
                  </a:cubicBezTo>
                  <a:cubicBezTo>
                    <a:pt x="1540" y="20"/>
                    <a:pt x="1520" y="0"/>
                    <a:pt x="1494" y="0"/>
                  </a:cubicBezTo>
                  <a:cubicBezTo>
                    <a:pt x="46" y="0"/>
                    <a:pt x="46" y="0"/>
                    <a:pt x="46" y="0"/>
                  </a:cubicBezTo>
                  <a:cubicBezTo>
                    <a:pt x="20" y="0"/>
                    <a:pt x="0" y="20"/>
                    <a:pt x="0" y="46"/>
                  </a:cubicBezTo>
                  <a:cubicBezTo>
                    <a:pt x="0" y="977"/>
                    <a:pt x="0" y="977"/>
                    <a:pt x="0" y="977"/>
                  </a:cubicBezTo>
                  <a:lnTo>
                    <a:pt x="1540" y="9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3" name="Rectangle 63"/>
            <p:cNvSpPr>
              <a:spLocks noChangeArrowheads="1"/>
            </p:cNvSpPr>
            <p:nvPr userDrawn="1"/>
          </p:nvSpPr>
          <p:spPr bwMode="auto">
            <a:xfrm>
              <a:off x="7227888" y="3070225"/>
              <a:ext cx="2238375" cy="138588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794" name="Rectangle 64"/>
            <p:cNvSpPr>
              <a:spLocks noChangeArrowheads="1"/>
            </p:cNvSpPr>
            <p:nvPr userDrawn="1"/>
          </p:nvSpPr>
          <p:spPr bwMode="auto">
            <a:xfrm>
              <a:off x="7227888" y="3070225"/>
              <a:ext cx="2238375" cy="115888"/>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5" name="Rectangle 65"/>
            <p:cNvSpPr>
              <a:spLocks noChangeArrowheads="1"/>
            </p:cNvSpPr>
            <p:nvPr userDrawn="1"/>
          </p:nvSpPr>
          <p:spPr bwMode="auto">
            <a:xfrm>
              <a:off x="7515226" y="3101975"/>
              <a:ext cx="1663700" cy="52388"/>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6" name="Oval 66"/>
            <p:cNvSpPr>
              <a:spLocks noChangeArrowheads="1"/>
            </p:cNvSpPr>
            <p:nvPr userDrawn="1"/>
          </p:nvSpPr>
          <p:spPr bwMode="auto">
            <a:xfrm>
              <a:off x="7251701" y="3101975"/>
              <a:ext cx="53975" cy="52388"/>
            </a:xfrm>
            <a:prstGeom prst="ellipse">
              <a:avLst/>
            </a:prstGeom>
            <a:solidFill>
              <a:srgbClr val="FF1D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7" name="Oval 67"/>
            <p:cNvSpPr>
              <a:spLocks noChangeArrowheads="1"/>
            </p:cNvSpPr>
            <p:nvPr userDrawn="1"/>
          </p:nvSpPr>
          <p:spPr bwMode="auto">
            <a:xfrm>
              <a:off x="7327901" y="3101975"/>
              <a:ext cx="53975" cy="52388"/>
            </a:xfrm>
            <a:prstGeom prst="ellipse">
              <a:avLst/>
            </a:prstGeom>
            <a:solidFill>
              <a:srgbClr val="FBED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8" name="Oval 68"/>
            <p:cNvSpPr>
              <a:spLocks noChangeArrowheads="1"/>
            </p:cNvSpPr>
            <p:nvPr userDrawn="1"/>
          </p:nvSpPr>
          <p:spPr bwMode="auto">
            <a:xfrm>
              <a:off x="7404101" y="3101975"/>
              <a:ext cx="53975" cy="52388"/>
            </a:xfrm>
            <a:prstGeom prst="ellipse">
              <a:avLst/>
            </a:prstGeom>
            <a:solidFill>
              <a:srgbClr val="8BC5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9" name="Rectangle 69"/>
            <p:cNvSpPr>
              <a:spLocks noChangeArrowheads="1"/>
            </p:cNvSpPr>
            <p:nvPr userDrawn="1"/>
          </p:nvSpPr>
          <p:spPr bwMode="auto">
            <a:xfrm>
              <a:off x="9205913" y="3101975"/>
              <a:ext cx="125413" cy="635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0" name="Rectangle 70"/>
            <p:cNvSpPr>
              <a:spLocks noChangeArrowheads="1"/>
            </p:cNvSpPr>
            <p:nvPr userDrawn="1"/>
          </p:nvSpPr>
          <p:spPr bwMode="auto">
            <a:xfrm>
              <a:off x="9205913" y="3117850"/>
              <a:ext cx="125413" cy="635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3" name="Rectangle 71"/>
            <p:cNvSpPr>
              <a:spLocks noChangeArrowheads="1"/>
            </p:cNvSpPr>
            <p:nvPr userDrawn="1"/>
          </p:nvSpPr>
          <p:spPr bwMode="auto">
            <a:xfrm>
              <a:off x="9205913" y="3132138"/>
              <a:ext cx="125413" cy="7938"/>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4" name="Rectangle 72"/>
            <p:cNvSpPr>
              <a:spLocks noChangeArrowheads="1"/>
            </p:cNvSpPr>
            <p:nvPr userDrawn="1"/>
          </p:nvSpPr>
          <p:spPr bwMode="auto">
            <a:xfrm>
              <a:off x="9205913" y="3148013"/>
              <a:ext cx="125413" cy="635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5" name="Rectangle 73"/>
            <p:cNvSpPr>
              <a:spLocks noChangeArrowheads="1"/>
            </p:cNvSpPr>
            <p:nvPr userDrawn="1"/>
          </p:nvSpPr>
          <p:spPr bwMode="auto">
            <a:xfrm>
              <a:off x="9359901" y="3101975"/>
              <a:ext cx="69850" cy="52388"/>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6" name="Oval 74"/>
            <p:cNvSpPr>
              <a:spLocks noChangeArrowheads="1"/>
            </p:cNvSpPr>
            <p:nvPr userDrawn="1"/>
          </p:nvSpPr>
          <p:spPr bwMode="auto">
            <a:xfrm>
              <a:off x="8289926" y="4587875"/>
              <a:ext cx="114300" cy="1143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7" name="Freeform 75"/>
            <p:cNvSpPr>
              <a:spLocks/>
            </p:cNvSpPr>
            <p:nvPr userDrawn="1"/>
          </p:nvSpPr>
          <p:spPr bwMode="auto">
            <a:xfrm>
              <a:off x="7827963" y="3262313"/>
              <a:ext cx="1050925" cy="757238"/>
            </a:xfrm>
            <a:custGeom>
              <a:avLst/>
              <a:gdLst>
                <a:gd name="T0" fmla="*/ 662 w 662"/>
                <a:gd name="T1" fmla="*/ 238 h 477"/>
                <a:gd name="T2" fmla="*/ 331 w 662"/>
                <a:gd name="T3" fmla="*/ 477 h 477"/>
                <a:gd name="T4" fmla="*/ 0 w 662"/>
                <a:gd name="T5" fmla="*/ 238 h 477"/>
                <a:gd name="T6" fmla="*/ 331 w 662"/>
                <a:gd name="T7" fmla="*/ 0 h 477"/>
                <a:gd name="T8" fmla="*/ 662 w 662"/>
                <a:gd name="T9" fmla="*/ 238 h 477"/>
              </a:gdLst>
              <a:ahLst/>
              <a:cxnLst>
                <a:cxn ang="0">
                  <a:pos x="T0" y="T1"/>
                </a:cxn>
                <a:cxn ang="0">
                  <a:pos x="T2" y="T3"/>
                </a:cxn>
                <a:cxn ang="0">
                  <a:pos x="T4" y="T5"/>
                </a:cxn>
                <a:cxn ang="0">
                  <a:pos x="T6" y="T7"/>
                </a:cxn>
                <a:cxn ang="0">
                  <a:pos x="T8" y="T9"/>
                </a:cxn>
              </a:cxnLst>
              <a:rect l="0" t="0" r="r" b="b"/>
              <a:pathLst>
                <a:path w="662" h="477">
                  <a:moveTo>
                    <a:pt x="662" y="238"/>
                  </a:moveTo>
                  <a:lnTo>
                    <a:pt x="331" y="477"/>
                  </a:lnTo>
                  <a:lnTo>
                    <a:pt x="0" y="238"/>
                  </a:lnTo>
                  <a:lnTo>
                    <a:pt x="331" y="0"/>
                  </a:lnTo>
                  <a:lnTo>
                    <a:pt x="662" y="238"/>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08" name="Rectangle 76"/>
            <p:cNvSpPr>
              <a:spLocks noChangeArrowheads="1"/>
            </p:cNvSpPr>
            <p:nvPr userDrawn="1"/>
          </p:nvSpPr>
          <p:spPr bwMode="auto">
            <a:xfrm>
              <a:off x="7972426" y="3327400"/>
              <a:ext cx="762000" cy="933450"/>
            </a:xfrm>
            <a:prstGeom prst="rect">
              <a:avLst/>
            </a:prstGeom>
            <a:solidFill>
              <a:srgbClr val="FFFD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9" name="Rectangle 77"/>
            <p:cNvSpPr>
              <a:spLocks noChangeArrowheads="1"/>
            </p:cNvSpPr>
            <p:nvPr userDrawn="1"/>
          </p:nvSpPr>
          <p:spPr bwMode="auto">
            <a:xfrm>
              <a:off x="8091488" y="3455988"/>
              <a:ext cx="217488" cy="42863"/>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10" name="Rectangle 78"/>
            <p:cNvSpPr>
              <a:spLocks noChangeArrowheads="1"/>
            </p:cNvSpPr>
            <p:nvPr userDrawn="1"/>
          </p:nvSpPr>
          <p:spPr bwMode="auto">
            <a:xfrm>
              <a:off x="8088313" y="3541713"/>
              <a:ext cx="530225" cy="42863"/>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11" name="Rectangle 79"/>
            <p:cNvSpPr>
              <a:spLocks noChangeArrowheads="1"/>
            </p:cNvSpPr>
            <p:nvPr userDrawn="1"/>
          </p:nvSpPr>
          <p:spPr bwMode="auto">
            <a:xfrm>
              <a:off x="8088313" y="3622675"/>
              <a:ext cx="530225" cy="44450"/>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12" name="Rectangle 80"/>
            <p:cNvSpPr>
              <a:spLocks noChangeArrowheads="1"/>
            </p:cNvSpPr>
            <p:nvPr userDrawn="1"/>
          </p:nvSpPr>
          <p:spPr bwMode="auto">
            <a:xfrm>
              <a:off x="8088313" y="3705225"/>
              <a:ext cx="530225" cy="42863"/>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13" name="Rectangle 81"/>
            <p:cNvSpPr>
              <a:spLocks noChangeArrowheads="1"/>
            </p:cNvSpPr>
            <p:nvPr userDrawn="1"/>
          </p:nvSpPr>
          <p:spPr bwMode="auto">
            <a:xfrm>
              <a:off x="8088313" y="3786188"/>
              <a:ext cx="530225" cy="44450"/>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14" name="Rectangle 82"/>
            <p:cNvSpPr>
              <a:spLocks noChangeArrowheads="1"/>
            </p:cNvSpPr>
            <p:nvPr userDrawn="1"/>
          </p:nvSpPr>
          <p:spPr bwMode="auto">
            <a:xfrm>
              <a:off x="8088313" y="3868738"/>
              <a:ext cx="530225" cy="44450"/>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15" name="Rectangle 83"/>
            <p:cNvSpPr>
              <a:spLocks noChangeArrowheads="1"/>
            </p:cNvSpPr>
            <p:nvPr userDrawn="1"/>
          </p:nvSpPr>
          <p:spPr bwMode="auto">
            <a:xfrm>
              <a:off x="8088313" y="3949700"/>
              <a:ext cx="530225" cy="44450"/>
            </a:xfrm>
            <a:prstGeom prst="rect">
              <a:avLst/>
            </a:prstGeom>
            <a:solidFill>
              <a:srgbClr val="FFDE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6" name="Freeform 84"/>
            <p:cNvSpPr>
              <a:spLocks/>
            </p:cNvSpPr>
            <p:nvPr userDrawn="1"/>
          </p:nvSpPr>
          <p:spPr bwMode="auto">
            <a:xfrm>
              <a:off x="7827963" y="3640138"/>
              <a:ext cx="1050925" cy="620713"/>
            </a:xfrm>
            <a:custGeom>
              <a:avLst/>
              <a:gdLst>
                <a:gd name="T0" fmla="*/ 0 w 662"/>
                <a:gd name="T1" fmla="*/ 391 h 391"/>
                <a:gd name="T2" fmla="*/ 662 w 662"/>
                <a:gd name="T3" fmla="*/ 391 h 391"/>
                <a:gd name="T4" fmla="*/ 662 w 662"/>
                <a:gd name="T5" fmla="*/ 0 h 391"/>
                <a:gd name="T6" fmla="*/ 331 w 662"/>
                <a:gd name="T7" fmla="*/ 239 h 391"/>
                <a:gd name="T8" fmla="*/ 0 w 662"/>
                <a:gd name="T9" fmla="*/ 0 h 391"/>
                <a:gd name="T10" fmla="*/ 0 w 662"/>
                <a:gd name="T11" fmla="*/ 391 h 391"/>
              </a:gdLst>
              <a:ahLst/>
              <a:cxnLst>
                <a:cxn ang="0">
                  <a:pos x="T0" y="T1"/>
                </a:cxn>
                <a:cxn ang="0">
                  <a:pos x="T2" y="T3"/>
                </a:cxn>
                <a:cxn ang="0">
                  <a:pos x="T4" y="T5"/>
                </a:cxn>
                <a:cxn ang="0">
                  <a:pos x="T6" y="T7"/>
                </a:cxn>
                <a:cxn ang="0">
                  <a:pos x="T8" y="T9"/>
                </a:cxn>
                <a:cxn ang="0">
                  <a:pos x="T10" y="T11"/>
                </a:cxn>
              </a:cxnLst>
              <a:rect l="0" t="0" r="r" b="b"/>
              <a:pathLst>
                <a:path w="662" h="391">
                  <a:moveTo>
                    <a:pt x="0" y="391"/>
                  </a:moveTo>
                  <a:lnTo>
                    <a:pt x="662" y="391"/>
                  </a:lnTo>
                  <a:lnTo>
                    <a:pt x="662" y="0"/>
                  </a:lnTo>
                  <a:lnTo>
                    <a:pt x="331" y="239"/>
                  </a:lnTo>
                  <a:lnTo>
                    <a:pt x="0" y="0"/>
                  </a:lnTo>
                  <a:lnTo>
                    <a:pt x="0" y="39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17" name="Freeform 85"/>
            <p:cNvSpPr>
              <a:spLocks/>
            </p:cNvSpPr>
            <p:nvPr userDrawn="1"/>
          </p:nvSpPr>
          <p:spPr bwMode="auto">
            <a:xfrm>
              <a:off x="7827963" y="3949700"/>
              <a:ext cx="1050925" cy="311150"/>
            </a:xfrm>
            <a:custGeom>
              <a:avLst/>
              <a:gdLst>
                <a:gd name="T0" fmla="*/ 0 w 662"/>
                <a:gd name="T1" fmla="*/ 196 h 196"/>
                <a:gd name="T2" fmla="*/ 662 w 662"/>
                <a:gd name="T3" fmla="*/ 196 h 196"/>
                <a:gd name="T4" fmla="*/ 391 w 662"/>
                <a:gd name="T5" fmla="*/ 0 h 196"/>
                <a:gd name="T6" fmla="*/ 271 w 662"/>
                <a:gd name="T7" fmla="*/ 0 h 196"/>
                <a:gd name="T8" fmla="*/ 271 w 662"/>
                <a:gd name="T9" fmla="*/ 0 h 196"/>
                <a:gd name="T10" fmla="*/ 0 w 662"/>
                <a:gd name="T11" fmla="*/ 196 h 196"/>
              </a:gdLst>
              <a:ahLst/>
              <a:cxnLst>
                <a:cxn ang="0">
                  <a:pos x="T0" y="T1"/>
                </a:cxn>
                <a:cxn ang="0">
                  <a:pos x="T2" y="T3"/>
                </a:cxn>
                <a:cxn ang="0">
                  <a:pos x="T4" y="T5"/>
                </a:cxn>
                <a:cxn ang="0">
                  <a:pos x="T6" y="T7"/>
                </a:cxn>
                <a:cxn ang="0">
                  <a:pos x="T8" y="T9"/>
                </a:cxn>
                <a:cxn ang="0">
                  <a:pos x="T10" y="T11"/>
                </a:cxn>
              </a:cxnLst>
              <a:rect l="0" t="0" r="r" b="b"/>
              <a:pathLst>
                <a:path w="662" h="196">
                  <a:moveTo>
                    <a:pt x="0" y="196"/>
                  </a:moveTo>
                  <a:lnTo>
                    <a:pt x="662" y="196"/>
                  </a:lnTo>
                  <a:lnTo>
                    <a:pt x="391" y="0"/>
                  </a:lnTo>
                  <a:lnTo>
                    <a:pt x="271" y="0"/>
                  </a:lnTo>
                  <a:lnTo>
                    <a:pt x="271" y="0"/>
                  </a:lnTo>
                  <a:lnTo>
                    <a:pt x="0" y="196"/>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18" name="Freeform 86"/>
            <p:cNvSpPr>
              <a:spLocks/>
            </p:cNvSpPr>
            <p:nvPr userDrawn="1"/>
          </p:nvSpPr>
          <p:spPr bwMode="auto">
            <a:xfrm>
              <a:off x="7105651" y="1825625"/>
              <a:ext cx="628650" cy="485775"/>
            </a:xfrm>
            <a:custGeom>
              <a:avLst/>
              <a:gdLst>
                <a:gd name="T0" fmla="*/ 396 w 396"/>
                <a:gd name="T1" fmla="*/ 0 h 306"/>
                <a:gd name="T2" fmla="*/ 308 w 396"/>
                <a:gd name="T3" fmla="*/ 296 h 306"/>
                <a:gd name="T4" fmla="*/ 0 w 396"/>
                <a:gd name="T5" fmla="*/ 306 h 306"/>
                <a:gd name="T6" fmla="*/ 88 w 396"/>
                <a:gd name="T7" fmla="*/ 10 h 306"/>
                <a:gd name="T8" fmla="*/ 396 w 396"/>
                <a:gd name="T9" fmla="*/ 0 h 306"/>
              </a:gdLst>
              <a:ahLst/>
              <a:cxnLst>
                <a:cxn ang="0">
                  <a:pos x="T0" y="T1"/>
                </a:cxn>
                <a:cxn ang="0">
                  <a:pos x="T2" y="T3"/>
                </a:cxn>
                <a:cxn ang="0">
                  <a:pos x="T4" y="T5"/>
                </a:cxn>
                <a:cxn ang="0">
                  <a:pos x="T6" y="T7"/>
                </a:cxn>
                <a:cxn ang="0">
                  <a:pos x="T8" y="T9"/>
                </a:cxn>
              </a:cxnLst>
              <a:rect l="0" t="0" r="r" b="b"/>
              <a:pathLst>
                <a:path w="396" h="306">
                  <a:moveTo>
                    <a:pt x="396" y="0"/>
                  </a:moveTo>
                  <a:lnTo>
                    <a:pt x="308" y="296"/>
                  </a:lnTo>
                  <a:lnTo>
                    <a:pt x="0" y="306"/>
                  </a:lnTo>
                  <a:lnTo>
                    <a:pt x="88" y="10"/>
                  </a:lnTo>
                  <a:lnTo>
                    <a:pt x="396"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19" name="Freeform 87"/>
            <p:cNvSpPr>
              <a:spLocks/>
            </p:cNvSpPr>
            <p:nvPr userDrawn="1"/>
          </p:nvSpPr>
          <p:spPr bwMode="auto">
            <a:xfrm>
              <a:off x="7046913" y="1704975"/>
              <a:ext cx="889000" cy="911225"/>
            </a:xfrm>
            <a:custGeom>
              <a:avLst/>
              <a:gdLst>
                <a:gd name="T0" fmla="*/ 271 w 560"/>
                <a:gd name="T1" fmla="*/ 574 h 574"/>
                <a:gd name="T2" fmla="*/ 560 w 560"/>
                <a:gd name="T3" fmla="*/ 352 h 574"/>
                <a:gd name="T4" fmla="*/ 288 w 560"/>
                <a:gd name="T5" fmla="*/ 0 h 574"/>
                <a:gd name="T6" fmla="*/ 0 w 560"/>
                <a:gd name="T7" fmla="*/ 222 h 574"/>
                <a:gd name="T8" fmla="*/ 271 w 560"/>
                <a:gd name="T9" fmla="*/ 574 h 574"/>
              </a:gdLst>
              <a:ahLst/>
              <a:cxnLst>
                <a:cxn ang="0">
                  <a:pos x="T0" y="T1"/>
                </a:cxn>
                <a:cxn ang="0">
                  <a:pos x="T2" y="T3"/>
                </a:cxn>
                <a:cxn ang="0">
                  <a:pos x="T4" y="T5"/>
                </a:cxn>
                <a:cxn ang="0">
                  <a:pos x="T6" y="T7"/>
                </a:cxn>
                <a:cxn ang="0">
                  <a:pos x="T8" y="T9"/>
                </a:cxn>
              </a:cxnLst>
              <a:rect l="0" t="0" r="r" b="b"/>
              <a:pathLst>
                <a:path w="560" h="574">
                  <a:moveTo>
                    <a:pt x="271" y="574"/>
                  </a:moveTo>
                  <a:lnTo>
                    <a:pt x="560" y="352"/>
                  </a:lnTo>
                  <a:lnTo>
                    <a:pt x="288" y="0"/>
                  </a:lnTo>
                  <a:lnTo>
                    <a:pt x="0" y="222"/>
                  </a:lnTo>
                  <a:lnTo>
                    <a:pt x="271" y="574"/>
                  </a:lnTo>
                  <a:close/>
                </a:path>
              </a:pathLst>
            </a:custGeom>
            <a:solidFill>
              <a:srgbClr val="FFFD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20" name="Freeform 88"/>
            <p:cNvSpPr>
              <a:spLocks/>
            </p:cNvSpPr>
            <p:nvPr userDrawn="1"/>
          </p:nvSpPr>
          <p:spPr bwMode="auto">
            <a:xfrm>
              <a:off x="7177088" y="1978025"/>
              <a:ext cx="150813" cy="127000"/>
            </a:xfrm>
            <a:custGeom>
              <a:avLst/>
              <a:gdLst>
                <a:gd name="T0" fmla="*/ 13 w 95"/>
                <a:gd name="T1" fmla="*/ 80 h 80"/>
                <a:gd name="T2" fmla="*/ 95 w 95"/>
                <a:gd name="T3" fmla="*/ 17 h 80"/>
                <a:gd name="T4" fmla="*/ 82 w 95"/>
                <a:gd name="T5" fmla="*/ 0 h 80"/>
                <a:gd name="T6" fmla="*/ 0 w 95"/>
                <a:gd name="T7" fmla="*/ 64 h 80"/>
                <a:gd name="T8" fmla="*/ 13 w 95"/>
                <a:gd name="T9" fmla="*/ 80 h 80"/>
              </a:gdLst>
              <a:ahLst/>
              <a:cxnLst>
                <a:cxn ang="0">
                  <a:pos x="T0" y="T1"/>
                </a:cxn>
                <a:cxn ang="0">
                  <a:pos x="T2" y="T3"/>
                </a:cxn>
                <a:cxn ang="0">
                  <a:pos x="T4" y="T5"/>
                </a:cxn>
                <a:cxn ang="0">
                  <a:pos x="T6" y="T7"/>
                </a:cxn>
                <a:cxn ang="0">
                  <a:pos x="T8" y="T9"/>
                </a:cxn>
              </a:cxnLst>
              <a:rect l="0" t="0" r="r" b="b"/>
              <a:pathLst>
                <a:path w="95" h="80">
                  <a:moveTo>
                    <a:pt x="13" y="80"/>
                  </a:moveTo>
                  <a:lnTo>
                    <a:pt x="95" y="17"/>
                  </a:lnTo>
                  <a:lnTo>
                    <a:pt x="82" y="0"/>
                  </a:lnTo>
                  <a:lnTo>
                    <a:pt x="0" y="64"/>
                  </a:lnTo>
                  <a:lnTo>
                    <a:pt x="13" y="8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21" name="Freeform 89"/>
            <p:cNvSpPr>
              <a:spLocks/>
            </p:cNvSpPr>
            <p:nvPr userDrawn="1"/>
          </p:nvSpPr>
          <p:spPr bwMode="auto">
            <a:xfrm>
              <a:off x="7215188" y="1887538"/>
              <a:ext cx="338138" cy="269875"/>
            </a:xfrm>
            <a:custGeom>
              <a:avLst/>
              <a:gdLst>
                <a:gd name="T0" fmla="*/ 13 w 213"/>
                <a:gd name="T1" fmla="*/ 170 h 170"/>
                <a:gd name="T2" fmla="*/ 213 w 213"/>
                <a:gd name="T3" fmla="*/ 16 h 170"/>
                <a:gd name="T4" fmla="*/ 200 w 213"/>
                <a:gd name="T5" fmla="*/ 0 h 170"/>
                <a:gd name="T6" fmla="*/ 0 w 213"/>
                <a:gd name="T7" fmla="*/ 154 h 170"/>
                <a:gd name="T8" fmla="*/ 13 w 213"/>
                <a:gd name="T9" fmla="*/ 170 h 170"/>
              </a:gdLst>
              <a:ahLst/>
              <a:cxnLst>
                <a:cxn ang="0">
                  <a:pos x="T0" y="T1"/>
                </a:cxn>
                <a:cxn ang="0">
                  <a:pos x="T2" y="T3"/>
                </a:cxn>
                <a:cxn ang="0">
                  <a:pos x="T4" y="T5"/>
                </a:cxn>
                <a:cxn ang="0">
                  <a:pos x="T6" y="T7"/>
                </a:cxn>
                <a:cxn ang="0">
                  <a:pos x="T8" y="T9"/>
                </a:cxn>
              </a:cxnLst>
              <a:rect l="0" t="0" r="r" b="b"/>
              <a:pathLst>
                <a:path w="213" h="170">
                  <a:moveTo>
                    <a:pt x="13" y="170"/>
                  </a:moveTo>
                  <a:lnTo>
                    <a:pt x="213" y="16"/>
                  </a:lnTo>
                  <a:lnTo>
                    <a:pt x="200" y="0"/>
                  </a:lnTo>
                  <a:lnTo>
                    <a:pt x="0" y="154"/>
                  </a:lnTo>
                  <a:lnTo>
                    <a:pt x="13" y="17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22" name="Freeform 90"/>
            <p:cNvSpPr>
              <a:spLocks/>
            </p:cNvSpPr>
            <p:nvPr userDrawn="1"/>
          </p:nvSpPr>
          <p:spPr bwMode="auto">
            <a:xfrm>
              <a:off x="7253288" y="1936750"/>
              <a:ext cx="338138" cy="269875"/>
            </a:xfrm>
            <a:custGeom>
              <a:avLst/>
              <a:gdLst>
                <a:gd name="T0" fmla="*/ 13 w 213"/>
                <a:gd name="T1" fmla="*/ 170 h 170"/>
                <a:gd name="T2" fmla="*/ 213 w 213"/>
                <a:gd name="T3" fmla="*/ 16 h 170"/>
                <a:gd name="T4" fmla="*/ 200 w 213"/>
                <a:gd name="T5" fmla="*/ 0 h 170"/>
                <a:gd name="T6" fmla="*/ 0 w 213"/>
                <a:gd name="T7" fmla="*/ 154 h 170"/>
                <a:gd name="T8" fmla="*/ 13 w 213"/>
                <a:gd name="T9" fmla="*/ 170 h 170"/>
              </a:gdLst>
              <a:ahLst/>
              <a:cxnLst>
                <a:cxn ang="0">
                  <a:pos x="T0" y="T1"/>
                </a:cxn>
                <a:cxn ang="0">
                  <a:pos x="T2" y="T3"/>
                </a:cxn>
                <a:cxn ang="0">
                  <a:pos x="T4" y="T5"/>
                </a:cxn>
                <a:cxn ang="0">
                  <a:pos x="T6" y="T7"/>
                </a:cxn>
                <a:cxn ang="0">
                  <a:pos x="T8" y="T9"/>
                </a:cxn>
              </a:cxnLst>
              <a:rect l="0" t="0" r="r" b="b"/>
              <a:pathLst>
                <a:path w="213" h="170">
                  <a:moveTo>
                    <a:pt x="13" y="170"/>
                  </a:moveTo>
                  <a:lnTo>
                    <a:pt x="213" y="16"/>
                  </a:lnTo>
                  <a:lnTo>
                    <a:pt x="200" y="0"/>
                  </a:lnTo>
                  <a:lnTo>
                    <a:pt x="0" y="154"/>
                  </a:lnTo>
                  <a:lnTo>
                    <a:pt x="13" y="17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23" name="Freeform 91"/>
            <p:cNvSpPr>
              <a:spLocks/>
            </p:cNvSpPr>
            <p:nvPr userDrawn="1"/>
          </p:nvSpPr>
          <p:spPr bwMode="auto">
            <a:xfrm>
              <a:off x="7291388" y="1984375"/>
              <a:ext cx="336550" cy="271463"/>
            </a:xfrm>
            <a:custGeom>
              <a:avLst/>
              <a:gdLst>
                <a:gd name="T0" fmla="*/ 13 w 212"/>
                <a:gd name="T1" fmla="*/ 171 h 171"/>
                <a:gd name="T2" fmla="*/ 212 w 212"/>
                <a:gd name="T3" fmla="*/ 17 h 171"/>
                <a:gd name="T4" fmla="*/ 200 w 212"/>
                <a:gd name="T5" fmla="*/ 0 h 171"/>
                <a:gd name="T6" fmla="*/ 0 w 212"/>
                <a:gd name="T7" fmla="*/ 154 h 171"/>
                <a:gd name="T8" fmla="*/ 13 w 212"/>
                <a:gd name="T9" fmla="*/ 171 h 171"/>
              </a:gdLst>
              <a:ahLst/>
              <a:cxnLst>
                <a:cxn ang="0">
                  <a:pos x="T0" y="T1"/>
                </a:cxn>
                <a:cxn ang="0">
                  <a:pos x="T2" y="T3"/>
                </a:cxn>
                <a:cxn ang="0">
                  <a:pos x="T4" y="T5"/>
                </a:cxn>
                <a:cxn ang="0">
                  <a:pos x="T6" y="T7"/>
                </a:cxn>
                <a:cxn ang="0">
                  <a:pos x="T8" y="T9"/>
                </a:cxn>
              </a:cxnLst>
              <a:rect l="0" t="0" r="r" b="b"/>
              <a:pathLst>
                <a:path w="212" h="171">
                  <a:moveTo>
                    <a:pt x="13" y="171"/>
                  </a:moveTo>
                  <a:lnTo>
                    <a:pt x="212" y="17"/>
                  </a:lnTo>
                  <a:lnTo>
                    <a:pt x="200" y="0"/>
                  </a:lnTo>
                  <a:lnTo>
                    <a:pt x="0" y="154"/>
                  </a:lnTo>
                  <a:lnTo>
                    <a:pt x="13" y="171"/>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24" name="Freeform 92"/>
            <p:cNvSpPr>
              <a:spLocks/>
            </p:cNvSpPr>
            <p:nvPr userDrawn="1"/>
          </p:nvSpPr>
          <p:spPr bwMode="auto">
            <a:xfrm>
              <a:off x="7329488" y="2033588"/>
              <a:ext cx="336550" cy="271463"/>
            </a:xfrm>
            <a:custGeom>
              <a:avLst/>
              <a:gdLst>
                <a:gd name="T0" fmla="*/ 12 w 212"/>
                <a:gd name="T1" fmla="*/ 171 h 171"/>
                <a:gd name="T2" fmla="*/ 212 w 212"/>
                <a:gd name="T3" fmla="*/ 17 h 171"/>
                <a:gd name="T4" fmla="*/ 199 w 212"/>
                <a:gd name="T5" fmla="*/ 0 h 171"/>
                <a:gd name="T6" fmla="*/ 0 w 212"/>
                <a:gd name="T7" fmla="*/ 154 h 171"/>
                <a:gd name="T8" fmla="*/ 12 w 212"/>
                <a:gd name="T9" fmla="*/ 171 h 171"/>
              </a:gdLst>
              <a:ahLst/>
              <a:cxnLst>
                <a:cxn ang="0">
                  <a:pos x="T0" y="T1"/>
                </a:cxn>
                <a:cxn ang="0">
                  <a:pos x="T2" y="T3"/>
                </a:cxn>
                <a:cxn ang="0">
                  <a:pos x="T4" y="T5"/>
                </a:cxn>
                <a:cxn ang="0">
                  <a:pos x="T6" y="T7"/>
                </a:cxn>
                <a:cxn ang="0">
                  <a:pos x="T8" y="T9"/>
                </a:cxn>
              </a:cxnLst>
              <a:rect l="0" t="0" r="r" b="b"/>
              <a:pathLst>
                <a:path w="212" h="171">
                  <a:moveTo>
                    <a:pt x="12" y="171"/>
                  </a:moveTo>
                  <a:lnTo>
                    <a:pt x="212" y="17"/>
                  </a:lnTo>
                  <a:lnTo>
                    <a:pt x="199" y="0"/>
                  </a:lnTo>
                  <a:lnTo>
                    <a:pt x="0" y="154"/>
                  </a:lnTo>
                  <a:lnTo>
                    <a:pt x="12" y="171"/>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25" name="Freeform 93"/>
            <p:cNvSpPr>
              <a:spLocks/>
            </p:cNvSpPr>
            <p:nvPr userDrawn="1"/>
          </p:nvSpPr>
          <p:spPr bwMode="auto">
            <a:xfrm>
              <a:off x="7366001" y="2082800"/>
              <a:ext cx="338138" cy="271463"/>
            </a:xfrm>
            <a:custGeom>
              <a:avLst/>
              <a:gdLst>
                <a:gd name="T0" fmla="*/ 13 w 213"/>
                <a:gd name="T1" fmla="*/ 171 h 171"/>
                <a:gd name="T2" fmla="*/ 213 w 213"/>
                <a:gd name="T3" fmla="*/ 17 h 171"/>
                <a:gd name="T4" fmla="*/ 200 w 213"/>
                <a:gd name="T5" fmla="*/ 0 h 171"/>
                <a:gd name="T6" fmla="*/ 0 w 213"/>
                <a:gd name="T7" fmla="*/ 154 h 171"/>
                <a:gd name="T8" fmla="*/ 13 w 213"/>
                <a:gd name="T9" fmla="*/ 171 h 171"/>
              </a:gdLst>
              <a:ahLst/>
              <a:cxnLst>
                <a:cxn ang="0">
                  <a:pos x="T0" y="T1"/>
                </a:cxn>
                <a:cxn ang="0">
                  <a:pos x="T2" y="T3"/>
                </a:cxn>
                <a:cxn ang="0">
                  <a:pos x="T4" y="T5"/>
                </a:cxn>
                <a:cxn ang="0">
                  <a:pos x="T6" y="T7"/>
                </a:cxn>
                <a:cxn ang="0">
                  <a:pos x="T8" y="T9"/>
                </a:cxn>
              </a:cxnLst>
              <a:rect l="0" t="0" r="r" b="b"/>
              <a:pathLst>
                <a:path w="213" h="171">
                  <a:moveTo>
                    <a:pt x="13" y="171"/>
                  </a:moveTo>
                  <a:lnTo>
                    <a:pt x="213" y="17"/>
                  </a:lnTo>
                  <a:lnTo>
                    <a:pt x="200" y="0"/>
                  </a:lnTo>
                  <a:lnTo>
                    <a:pt x="0" y="154"/>
                  </a:lnTo>
                  <a:lnTo>
                    <a:pt x="13" y="171"/>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26" name="Freeform 94"/>
            <p:cNvSpPr>
              <a:spLocks/>
            </p:cNvSpPr>
            <p:nvPr userDrawn="1"/>
          </p:nvSpPr>
          <p:spPr bwMode="auto">
            <a:xfrm>
              <a:off x="7404101" y="2132013"/>
              <a:ext cx="338138" cy="271463"/>
            </a:xfrm>
            <a:custGeom>
              <a:avLst/>
              <a:gdLst>
                <a:gd name="T0" fmla="*/ 13 w 213"/>
                <a:gd name="T1" fmla="*/ 171 h 171"/>
                <a:gd name="T2" fmla="*/ 213 w 213"/>
                <a:gd name="T3" fmla="*/ 17 h 171"/>
                <a:gd name="T4" fmla="*/ 200 w 213"/>
                <a:gd name="T5" fmla="*/ 0 h 171"/>
                <a:gd name="T6" fmla="*/ 0 w 213"/>
                <a:gd name="T7" fmla="*/ 154 h 171"/>
                <a:gd name="T8" fmla="*/ 13 w 213"/>
                <a:gd name="T9" fmla="*/ 171 h 171"/>
              </a:gdLst>
              <a:ahLst/>
              <a:cxnLst>
                <a:cxn ang="0">
                  <a:pos x="T0" y="T1"/>
                </a:cxn>
                <a:cxn ang="0">
                  <a:pos x="T2" y="T3"/>
                </a:cxn>
                <a:cxn ang="0">
                  <a:pos x="T4" y="T5"/>
                </a:cxn>
                <a:cxn ang="0">
                  <a:pos x="T6" y="T7"/>
                </a:cxn>
                <a:cxn ang="0">
                  <a:pos x="T8" y="T9"/>
                </a:cxn>
              </a:cxnLst>
              <a:rect l="0" t="0" r="r" b="b"/>
              <a:pathLst>
                <a:path w="213" h="171">
                  <a:moveTo>
                    <a:pt x="13" y="171"/>
                  </a:moveTo>
                  <a:lnTo>
                    <a:pt x="213" y="17"/>
                  </a:lnTo>
                  <a:lnTo>
                    <a:pt x="200" y="0"/>
                  </a:lnTo>
                  <a:lnTo>
                    <a:pt x="0" y="154"/>
                  </a:lnTo>
                  <a:lnTo>
                    <a:pt x="13" y="171"/>
                  </a:lnTo>
                  <a:close/>
                </a:path>
              </a:pathLst>
            </a:custGeom>
            <a:solidFill>
              <a:srgbClr val="FFD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27" name="Freeform 95"/>
            <p:cNvSpPr>
              <a:spLocks/>
            </p:cNvSpPr>
            <p:nvPr userDrawn="1"/>
          </p:nvSpPr>
          <p:spPr bwMode="auto">
            <a:xfrm>
              <a:off x="7105651" y="1825625"/>
              <a:ext cx="915988" cy="857250"/>
            </a:xfrm>
            <a:custGeom>
              <a:avLst/>
              <a:gdLst>
                <a:gd name="T0" fmla="*/ 180 w 577"/>
                <a:gd name="T1" fmla="*/ 540 h 540"/>
                <a:gd name="T2" fmla="*/ 577 w 577"/>
                <a:gd name="T3" fmla="*/ 235 h 540"/>
                <a:gd name="T4" fmla="*/ 396 w 577"/>
                <a:gd name="T5" fmla="*/ 0 h 540"/>
                <a:gd name="T6" fmla="*/ 308 w 577"/>
                <a:gd name="T7" fmla="*/ 296 h 540"/>
                <a:gd name="T8" fmla="*/ 0 w 577"/>
                <a:gd name="T9" fmla="*/ 306 h 540"/>
                <a:gd name="T10" fmla="*/ 180 w 577"/>
                <a:gd name="T11" fmla="*/ 540 h 540"/>
              </a:gdLst>
              <a:ahLst/>
              <a:cxnLst>
                <a:cxn ang="0">
                  <a:pos x="T0" y="T1"/>
                </a:cxn>
                <a:cxn ang="0">
                  <a:pos x="T2" y="T3"/>
                </a:cxn>
                <a:cxn ang="0">
                  <a:pos x="T4" y="T5"/>
                </a:cxn>
                <a:cxn ang="0">
                  <a:pos x="T6" y="T7"/>
                </a:cxn>
                <a:cxn ang="0">
                  <a:pos x="T8" y="T9"/>
                </a:cxn>
                <a:cxn ang="0">
                  <a:pos x="T10" y="T11"/>
                </a:cxn>
              </a:cxnLst>
              <a:rect l="0" t="0" r="r" b="b"/>
              <a:pathLst>
                <a:path w="577" h="540">
                  <a:moveTo>
                    <a:pt x="180" y="540"/>
                  </a:moveTo>
                  <a:lnTo>
                    <a:pt x="577" y="235"/>
                  </a:lnTo>
                  <a:lnTo>
                    <a:pt x="396" y="0"/>
                  </a:lnTo>
                  <a:lnTo>
                    <a:pt x="308" y="296"/>
                  </a:lnTo>
                  <a:lnTo>
                    <a:pt x="0" y="306"/>
                  </a:lnTo>
                  <a:lnTo>
                    <a:pt x="180" y="54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28" name="Freeform 96"/>
            <p:cNvSpPr>
              <a:spLocks/>
            </p:cNvSpPr>
            <p:nvPr userDrawn="1"/>
          </p:nvSpPr>
          <p:spPr bwMode="auto">
            <a:xfrm>
              <a:off x="7391401" y="2198688"/>
              <a:ext cx="630238" cy="484188"/>
            </a:xfrm>
            <a:custGeom>
              <a:avLst/>
              <a:gdLst>
                <a:gd name="T0" fmla="*/ 0 w 397"/>
                <a:gd name="T1" fmla="*/ 305 h 305"/>
                <a:gd name="T2" fmla="*/ 397 w 397"/>
                <a:gd name="T3" fmla="*/ 0 h 305"/>
                <a:gd name="T4" fmla="*/ 144 w 397"/>
                <a:gd name="T5" fmla="*/ 7 h 305"/>
                <a:gd name="T6" fmla="*/ 72 w 397"/>
                <a:gd name="T7" fmla="*/ 63 h 305"/>
                <a:gd name="T8" fmla="*/ 0 w 397"/>
                <a:gd name="T9" fmla="*/ 305 h 305"/>
              </a:gdLst>
              <a:ahLst/>
              <a:cxnLst>
                <a:cxn ang="0">
                  <a:pos x="T0" y="T1"/>
                </a:cxn>
                <a:cxn ang="0">
                  <a:pos x="T2" y="T3"/>
                </a:cxn>
                <a:cxn ang="0">
                  <a:pos x="T4" y="T5"/>
                </a:cxn>
                <a:cxn ang="0">
                  <a:pos x="T6" y="T7"/>
                </a:cxn>
                <a:cxn ang="0">
                  <a:pos x="T8" y="T9"/>
                </a:cxn>
              </a:cxnLst>
              <a:rect l="0" t="0" r="r" b="b"/>
              <a:pathLst>
                <a:path w="397" h="305">
                  <a:moveTo>
                    <a:pt x="0" y="305"/>
                  </a:moveTo>
                  <a:lnTo>
                    <a:pt x="397" y="0"/>
                  </a:lnTo>
                  <a:lnTo>
                    <a:pt x="144" y="7"/>
                  </a:lnTo>
                  <a:lnTo>
                    <a:pt x="72" y="63"/>
                  </a:lnTo>
                  <a:lnTo>
                    <a:pt x="0" y="305"/>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29" name="Rectangle 97"/>
            <p:cNvSpPr>
              <a:spLocks noChangeArrowheads="1"/>
            </p:cNvSpPr>
            <p:nvPr userDrawn="1"/>
          </p:nvSpPr>
          <p:spPr bwMode="auto">
            <a:xfrm>
              <a:off x="1470026" y="4040188"/>
              <a:ext cx="1060450" cy="25400"/>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zh-CN" altLang="en-US"/>
            </a:p>
          </p:txBody>
        </p:sp>
      </p:grpSp>
      <p:sp>
        <p:nvSpPr>
          <p:cNvPr id="9801" name="副标题 2"/>
          <p:cNvSpPr>
            <a:spLocks noGrp="1"/>
          </p:cNvSpPr>
          <p:nvPr userDrawn="1">
            <p:ph type="subTitle" idx="1"/>
          </p:nvPr>
        </p:nvSpPr>
        <p:spPr>
          <a:xfrm>
            <a:off x="1378978" y="3025184"/>
            <a:ext cx="4961497" cy="558799"/>
          </a:xfrm>
        </p:spPr>
        <p:txBody>
          <a:bodyPr anchor="ctr">
            <a:normAutofit/>
          </a:bodyPr>
          <a:lstStyle>
            <a:lvl1pPr marL="0" indent="0" algn="l">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1378978" y="1944689"/>
            <a:ext cx="4961497" cy="1080496"/>
          </a:xfrm>
        </p:spPr>
        <p:txBody>
          <a:bodyPr anchor="ctr">
            <a:normAutofit/>
          </a:bodyPr>
          <a:lstStyle>
            <a:lvl1pPr algn="l">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1378978" y="4634504"/>
            <a:ext cx="4961497"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1378978" y="4930775"/>
            <a:ext cx="4961497"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101" name="Rectangle 22"/>
          <p:cNvSpPr>
            <a:spLocks noChangeArrowheads="1"/>
          </p:cNvSpPr>
          <p:nvPr userDrawn="1"/>
        </p:nvSpPr>
        <p:spPr bwMode="auto">
          <a:xfrm flipH="1">
            <a:off x="1011238" y="1184275"/>
            <a:ext cx="10169525" cy="4914900"/>
          </a:xfrm>
          <a:prstGeom prst="rect">
            <a:avLst/>
          </a:prstGeom>
          <a:solidFill>
            <a:schemeClr val="bg1"/>
          </a:solidFill>
          <a:ln>
            <a:noFill/>
          </a:ln>
          <a:effectLst>
            <a:outerShdw blurRad="304800" dist="50800" dir="5400000" algn="ctr" rotWithShape="0">
              <a:schemeClr val="tx1">
                <a:alpha val="32000"/>
              </a:scheme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102" name="Rectangle 23"/>
          <p:cNvSpPr>
            <a:spLocks noChangeArrowheads="1"/>
          </p:cNvSpPr>
          <p:nvPr userDrawn="1"/>
        </p:nvSpPr>
        <p:spPr bwMode="auto">
          <a:xfrm flipH="1">
            <a:off x="1011238" y="1184275"/>
            <a:ext cx="5230813" cy="49149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3" name="Freeform 24"/>
          <p:cNvSpPr>
            <a:spLocks/>
          </p:cNvSpPr>
          <p:nvPr userDrawn="1"/>
        </p:nvSpPr>
        <p:spPr bwMode="auto">
          <a:xfrm flipH="1">
            <a:off x="1217613" y="3968750"/>
            <a:ext cx="1985963" cy="1704975"/>
          </a:xfrm>
          <a:custGeom>
            <a:avLst/>
            <a:gdLst>
              <a:gd name="T0" fmla="*/ 714 w 1252"/>
              <a:gd name="T1" fmla="*/ 1074 h 1074"/>
              <a:gd name="T2" fmla="*/ 33 w 1252"/>
              <a:gd name="T3" fmla="*/ 1074 h 1074"/>
              <a:gd name="T4" fmla="*/ 0 w 1252"/>
              <a:gd name="T5" fmla="*/ 1042 h 1074"/>
              <a:gd name="T6" fmla="*/ 33 w 1252"/>
              <a:gd name="T7" fmla="*/ 1009 h 1074"/>
              <a:gd name="T8" fmla="*/ 714 w 1252"/>
              <a:gd name="T9" fmla="*/ 1009 h 1074"/>
              <a:gd name="T10" fmla="*/ 1186 w 1252"/>
              <a:gd name="T11" fmla="*/ 537 h 1074"/>
              <a:gd name="T12" fmla="*/ 714 w 1252"/>
              <a:gd name="T13" fmla="*/ 65 h 1074"/>
              <a:gd name="T14" fmla="*/ 52 w 1252"/>
              <a:gd name="T15" fmla="*/ 65 h 1074"/>
              <a:gd name="T16" fmla="*/ 19 w 1252"/>
              <a:gd name="T17" fmla="*/ 32 h 1074"/>
              <a:gd name="T18" fmla="*/ 52 w 1252"/>
              <a:gd name="T19" fmla="*/ 0 h 1074"/>
              <a:gd name="T20" fmla="*/ 714 w 1252"/>
              <a:gd name="T21" fmla="*/ 0 h 1074"/>
              <a:gd name="T22" fmla="*/ 1252 w 1252"/>
              <a:gd name="T23" fmla="*/ 537 h 1074"/>
              <a:gd name="T24" fmla="*/ 714 w 1252"/>
              <a:gd name="T25" fmla="*/ 107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2" h="1074">
                <a:moveTo>
                  <a:pt x="714" y="1074"/>
                </a:moveTo>
                <a:cubicBezTo>
                  <a:pt x="33" y="1074"/>
                  <a:pt x="33" y="1074"/>
                  <a:pt x="33" y="1074"/>
                </a:cubicBezTo>
                <a:cubicBezTo>
                  <a:pt x="15" y="1074"/>
                  <a:pt x="0" y="1060"/>
                  <a:pt x="0" y="1042"/>
                </a:cubicBezTo>
                <a:cubicBezTo>
                  <a:pt x="0" y="1023"/>
                  <a:pt x="15" y="1009"/>
                  <a:pt x="33" y="1009"/>
                </a:cubicBezTo>
                <a:cubicBezTo>
                  <a:pt x="714" y="1009"/>
                  <a:pt x="714" y="1009"/>
                  <a:pt x="714" y="1009"/>
                </a:cubicBezTo>
                <a:cubicBezTo>
                  <a:pt x="974" y="1009"/>
                  <a:pt x="1186" y="797"/>
                  <a:pt x="1186" y="537"/>
                </a:cubicBezTo>
                <a:cubicBezTo>
                  <a:pt x="1186" y="277"/>
                  <a:pt x="974" y="65"/>
                  <a:pt x="714" y="65"/>
                </a:cubicBezTo>
                <a:cubicBezTo>
                  <a:pt x="52" y="65"/>
                  <a:pt x="52" y="65"/>
                  <a:pt x="52" y="65"/>
                </a:cubicBezTo>
                <a:cubicBezTo>
                  <a:pt x="34" y="65"/>
                  <a:pt x="19" y="51"/>
                  <a:pt x="19" y="32"/>
                </a:cubicBezTo>
                <a:cubicBezTo>
                  <a:pt x="19" y="14"/>
                  <a:pt x="34" y="0"/>
                  <a:pt x="52" y="0"/>
                </a:cubicBezTo>
                <a:cubicBezTo>
                  <a:pt x="714" y="0"/>
                  <a:pt x="714" y="0"/>
                  <a:pt x="714" y="0"/>
                </a:cubicBezTo>
                <a:cubicBezTo>
                  <a:pt x="1010" y="0"/>
                  <a:pt x="1252" y="241"/>
                  <a:pt x="1252" y="537"/>
                </a:cubicBezTo>
                <a:cubicBezTo>
                  <a:pt x="1252" y="833"/>
                  <a:pt x="1010" y="1074"/>
                  <a:pt x="714" y="107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4" name="Freeform 25"/>
          <p:cNvSpPr>
            <a:spLocks/>
          </p:cNvSpPr>
          <p:nvPr userDrawn="1"/>
        </p:nvSpPr>
        <p:spPr bwMode="auto">
          <a:xfrm flipH="1">
            <a:off x="1439863" y="4157662"/>
            <a:ext cx="1541463" cy="1327150"/>
          </a:xfrm>
          <a:custGeom>
            <a:avLst/>
            <a:gdLst>
              <a:gd name="T0" fmla="*/ 553 w 972"/>
              <a:gd name="T1" fmla="*/ 836 h 836"/>
              <a:gd name="T2" fmla="*/ 33 w 972"/>
              <a:gd name="T3" fmla="*/ 836 h 836"/>
              <a:gd name="T4" fmla="*/ 0 w 972"/>
              <a:gd name="T5" fmla="*/ 803 h 836"/>
              <a:gd name="T6" fmla="*/ 33 w 972"/>
              <a:gd name="T7" fmla="*/ 771 h 836"/>
              <a:gd name="T8" fmla="*/ 553 w 972"/>
              <a:gd name="T9" fmla="*/ 771 h 836"/>
              <a:gd name="T10" fmla="*/ 906 w 972"/>
              <a:gd name="T11" fmla="*/ 418 h 836"/>
              <a:gd name="T12" fmla="*/ 553 w 972"/>
              <a:gd name="T13" fmla="*/ 65 h 836"/>
              <a:gd name="T14" fmla="*/ 48 w 972"/>
              <a:gd name="T15" fmla="*/ 65 h 836"/>
              <a:gd name="T16" fmla="*/ 15 w 972"/>
              <a:gd name="T17" fmla="*/ 33 h 836"/>
              <a:gd name="T18" fmla="*/ 48 w 972"/>
              <a:gd name="T19" fmla="*/ 0 h 836"/>
              <a:gd name="T20" fmla="*/ 553 w 972"/>
              <a:gd name="T21" fmla="*/ 0 h 836"/>
              <a:gd name="T22" fmla="*/ 972 w 972"/>
              <a:gd name="T23" fmla="*/ 418 h 836"/>
              <a:gd name="T24" fmla="*/ 553 w 972"/>
              <a:gd name="T25" fmla="*/ 8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2" h="836">
                <a:moveTo>
                  <a:pt x="553" y="836"/>
                </a:moveTo>
                <a:cubicBezTo>
                  <a:pt x="33" y="836"/>
                  <a:pt x="33" y="836"/>
                  <a:pt x="33" y="836"/>
                </a:cubicBezTo>
                <a:cubicBezTo>
                  <a:pt x="14" y="836"/>
                  <a:pt x="0" y="822"/>
                  <a:pt x="0" y="803"/>
                </a:cubicBezTo>
                <a:cubicBezTo>
                  <a:pt x="0" y="785"/>
                  <a:pt x="14" y="771"/>
                  <a:pt x="33" y="771"/>
                </a:cubicBezTo>
                <a:cubicBezTo>
                  <a:pt x="553" y="771"/>
                  <a:pt x="553" y="771"/>
                  <a:pt x="553" y="771"/>
                </a:cubicBezTo>
                <a:cubicBezTo>
                  <a:pt x="748" y="771"/>
                  <a:pt x="906" y="612"/>
                  <a:pt x="906" y="418"/>
                </a:cubicBezTo>
                <a:cubicBezTo>
                  <a:pt x="906" y="224"/>
                  <a:pt x="748" y="65"/>
                  <a:pt x="553" y="65"/>
                </a:cubicBezTo>
                <a:cubicBezTo>
                  <a:pt x="48" y="65"/>
                  <a:pt x="48" y="65"/>
                  <a:pt x="48" y="65"/>
                </a:cubicBezTo>
                <a:cubicBezTo>
                  <a:pt x="29" y="65"/>
                  <a:pt x="15" y="51"/>
                  <a:pt x="15" y="33"/>
                </a:cubicBezTo>
                <a:cubicBezTo>
                  <a:pt x="15" y="14"/>
                  <a:pt x="29" y="0"/>
                  <a:pt x="48" y="0"/>
                </a:cubicBezTo>
                <a:cubicBezTo>
                  <a:pt x="553" y="0"/>
                  <a:pt x="553" y="0"/>
                  <a:pt x="553" y="0"/>
                </a:cubicBezTo>
                <a:cubicBezTo>
                  <a:pt x="784" y="0"/>
                  <a:pt x="972" y="187"/>
                  <a:pt x="972" y="418"/>
                </a:cubicBezTo>
                <a:cubicBezTo>
                  <a:pt x="972" y="649"/>
                  <a:pt x="784" y="836"/>
                  <a:pt x="553" y="8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5" name="Freeform 26"/>
          <p:cNvSpPr>
            <a:spLocks/>
          </p:cNvSpPr>
          <p:nvPr userDrawn="1"/>
        </p:nvSpPr>
        <p:spPr bwMode="auto">
          <a:xfrm flipH="1">
            <a:off x="1657351" y="4341812"/>
            <a:ext cx="1108075" cy="958850"/>
          </a:xfrm>
          <a:custGeom>
            <a:avLst/>
            <a:gdLst>
              <a:gd name="T0" fmla="*/ 397 w 699"/>
              <a:gd name="T1" fmla="*/ 604 h 604"/>
              <a:gd name="T2" fmla="*/ 33 w 699"/>
              <a:gd name="T3" fmla="*/ 604 h 604"/>
              <a:gd name="T4" fmla="*/ 0 w 699"/>
              <a:gd name="T5" fmla="*/ 571 h 604"/>
              <a:gd name="T6" fmla="*/ 33 w 699"/>
              <a:gd name="T7" fmla="*/ 539 h 604"/>
              <a:gd name="T8" fmla="*/ 397 w 699"/>
              <a:gd name="T9" fmla="*/ 539 h 604"/>
              <a:gd name="T10" fmla="*/ 633 w 699"/>
              <a:gd name="T11" fmla="*/ 302 h 604"/>
              <a:gd name="T12" fmla="*/ 397 w 699"/>
              <a:gd name="T13" fmla="*/ 66 h 604"/>
              <a:gd name="T14" fmla="*/ 44 w 699"/>
              <a:gd name="T15" fmla="*/ 66 h 604"/>
              <a:gd name="T16" fmla="*/ 11 w 699"/>
              <a:gd name="T17" fmla="*/ 33 h 604"/>
              <a:gd name="T18" fmla="*/ 44 w 699"/>
              <a:gd name="T19" fmla="*/ 0 h 604"/>
              <a:gd name="T20" fmla="*/ 397 w 699"/>
              <a:gd name="T21" fmla="*/ 0 h 604"/>
              <a:gd name="T22" fmla="*/ 699 w 699"/>
              <a:gd name="T23" fmla="*/ 302 h 604"/>
              <a:gd name="T24" fmla="*/ 397 w 699"/>
              <a:gd name="T25"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9" h="604">
                <a:moveTo>
                  <a:pt x="397" y="604"/>
                </a:moveTo>
                <a:cubicBezTo>
                  <a:pt x="33" y="604"/>
                  <a:pt x="33" y="604"/>
                  <a:pt x="33" y="604"/>
                </a:cubicBezTo>
                <a:cubicBezTo>
                  <a:pt x="15" y="604"/>
                  <a:pt x="0" y="590"/>
                  <a:pt x="0" y="571"/>
                </a:cubicBezTo>
                <a:cubicBezTo>
                  <a:pt x="0" y="553"/>
                  <a:pt x="15" y="539"/>
                  <a:pt x="33" y="539"/>
                </a:cubicBezTo>
                <a:cubicBezTo>
                  <a:pt x="397" y="539"/>
                  <a:pt x="397" y="539"/>
                  <a:pt x="397" y="539"/>
                </a:cubicBezTo>
                <a:cubicBezTo>
                  <a:pt x="527" y="539"/>
                  <a:pt x="633" y="432"/>
                  <a:pt x="633" y="302"/>
                </a:cubicBezTo>
                <a:cubicBezTo>
                  <a:pt x="633" y="172"/>
                  <a:pt x="527" y="66"/>
                  <a:pt x="397" y="66"/>
                </a:cubicBezTo>
                <a:cubicBezTo>
                  <a:pt x="44" y="66"/>
                  <a:pt x="44" y="66"/>
                  <a:pt x="44" y="66"/>
                </a:cubicBezTo>
                <a:cubicBezTo>
                  <a:pt x="25" y="66"/>
                  <a:pt x="11" y="51"/>
                  <a:pt x="11" y="33"/>
                </a:cubicBezTo>
                <a:cubicBezTo>
                  <a:pt x="11" y="15"/>
                  <a:pt x="25" y="0"/>
                  <a:pt x="44" y="0"/>
                </a:cubicBezTo>
                <a:cubicBezTo>
                  <a:pt x="397" y="0"/>
                  <a:pt x="397" y="0"/>
                  <a:pt x="397" y="0"/>
                </a:cubicBezTo>
                <a:cubicBezTo>
                  <a:pt x="564" y="0"/>
                  <a:pt x="699" y="135"/>
                  <a:pt x="699" y="302"/>
                </a:cubicBezTo>
                <a:cubicBezTo>
                  <a:pt x="699" y="469"/>
                  <a:pt x="564" y="604"/>
                  <a:pt x="397" y="6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6" name="Freeform 27"/>
          <p:cNvSpPr>
            <a:spLocks/>
          </p:cNvSpPr>
          <p:nvPr userDrawn="1"/>
        </p:nvSpPr>
        <p:spPr bwMode="auto">
          <a:xfrm flipH="1">
            <a:off x="4049713" y="1960562"/>
            <a:ext cx="1985963" cy="1706563"/>
          </a:xfrm>
          <a:custGeom>
            <a:avLst/>
            <a:gdLst>
              <a:gd name="T0" fmla="*/ 1218 w 1251"/>
              <a:gd name="T1" fmla="*/ 1075 h 1075"/>
              <a:gd name="T2" fmla="*/ 537 w 1251"/>
              <a:gd name="T3" fmla="*/ 1075 h 1075"/>
              <a:gd name="T4" fmla="*/ 0 w 1251"/>
              <a:gd name="T5" fmla="*/ 537 h 1075"/>
              <a:gd name="T6" fmla="*/ 537 w 1251"/>
              <a:gd name="T7" fmla="*/ 0 h 1075"/>
              <a:gd name="T8" fmla="*/ 1199 w 1251"/>
              <a:gd name="T9" fmla="*/ 0 h 1075"/>
              <a:gd name="T10" fmla="*/ 1232 w 1251"/>
              <a:gd name="T11" fmla="*/ 33 h 1075"/>
              <a:gd name="T12" fmla="*/ 1199 w 1251"/>
              <a:gd name="T13" fmla="*/ 66 h 1075"/>
              <a:gd name="T14" fmla="*/ 537 w 1251"/>
              <a:gd name="T15" fmla="*/ 66 h 1075"/>
              <a:gd name="T16" fmla="*/ 65 w 1251"/>
              <a:gd name="T17" fmla="*/ 537 h 1075"/>
              <a:gd name="T18" fmla="*/ 537 w 1251"/>
              <a:gd name="T19" fmla="*/ 1009 h 1075"/>
              <a:gd name="T20" fmla="*/ 1218 w 1251"/>
              <a:gd name="T21" fmla="*/ 1009 h 1075"/>
              <a:gd name="T22" fmla="*/ 1251 w 1251"/>
              <a:gd name="T23" fmla="*/ 1042 h 1075"/>
              <a:gd name="T24" fmla="*/ 1218 w 1251"/>
              <a:gd name="T25" fmla="*/ 1075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1" h="1075">
                <a:moveTo>
                  <a:pt x="1218" y="1075"/>
                </a:moveTo>
                <a:cubicBezTo>
                  <a:pt x="537" y="1075"/>
                  <a:pt x="537" y="1075"/>
                  <a:pt x="537" y="1075"/>
                </a:cubicBezTo>
                <a:cubicBezTo>
                  <a:pt x="241" y="1075"/>
                  <a:pt x="0" y="834"/>
                  <a:pt x="0" y="537"/>
                </a:cubicBezTo>
                <a:cubicBezTo>
                  <a:pt x="0" y="241"/>
                  <a:pt x="241" y="0"/>
                  <a:pt x="537" y="0"/>
                </a:cubicBezTo>
                <a:cubicBezTo>
                  <a:pt x="1199" y="0"/>
                  <a:pt x="1199" y="0"/>
                  <a:pt x="1199" y="0"/>
                </a:cubicBezTo>
                <a:cubicBezTo>
                  <a:pt x="1217" y="0"/>
                  <a:pt x="1232" y="15"/>
                  <a:pt x="1232" y="33"/>
                </a:cubicBezTo>
                <a:cubicBezTo>
                  <a:pt x="1232" y="51"/>
                  <a:pt x="1217" y="66"/>
                  <a:pt x="1199" y="66"/>
                </a:cubicBezTo>
                <a:cubicBezTo>
                  <a:pt x="537" y="66"/>
                  <a:pt x="537" y="66"/>
                  <a:pt x="537" y="66"/>
                </a:cubicBezTo>
                <a:cubicBezTo>
                  <a:pt x="277" y="66"/>
                  <a:pt x="65" y="277"/>
                  <a:pt x="65" y="537"/>
                </a:cubicBezTo>
                <a:cubicBezTo>
                  <a:pt x="65" y="797"/>
                  <a:pt x="277" y="1009"/>
                  <a:pt x="537" y="1009"/>
                </a:cubicBezTo>
                <a:cubicBezTo>
                  <a:pt x="1218" y="1009"/>
                  <a:pt x="1218" y="1009"/>
                  <a:pt x="1218" y="1009"/>
                </a:cubicBezTo>
                <a:cubicBezTo>
                  <a:pt x="1237" y="1009"/>
                  <a:pt x="1251" y="1024"/>
                  <a:pt x="1251" y="1042"/>
                </a:cubicBezTo>
                <a:cubicBezTo>
                  <a:pt x="1251" y="1060"/>
                  <a:pt x="1237" y="1075"/>
                  <a:pt x="1218" y="10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7" name="Freeform 28"/>
          <p:cNvSpPr>
            <a:spLocks/>
          </p:cNvSpPr>
          <p:nvPr userDrawn="1"/>
        </p:nvSpPr>
        <p:spPr bwMode="auto">
          <a:xfrm flipH="1">
            <a:off x="4271963" y="2149475"/>
            <a:ext cx="1541463" cy="1328738"/>
          </a:xfrm>
          <a:custGeom>
            <a:avLst/>
            <a:gdLst>
              <a:gd name="T0" fmla="*/ 938 w 971"/>
              <a:gd name="T1" fmla="*/ 837 h 837"/>
              <a:gd name="T2" fmla="*/ 418 w 971"/>
              <a:gd name="T3" fmla="*/ 837 h 837"/>
              <a:gd name="T4" fmla="*/ 0 w 971"/>
              <a:gd name="T5" fmla="*/ 418 h 837"/>
              <a:gd name="T6" fmla="*/ 418 w 971"/>
              <a:gd name="T7" fmla="*/ 0 h 837"/>
              <a:gd name="T8" fmla="*/ 923 w 971"/>
              <a:gd name="T9" fmla="*/ 0 h 837"/>
              <a:gd name="T10" fmla="*/ 956 w 971"/>
              <a:gd name="T11" fmla="*/ 33 h 837"/>
              <a:gd name="T12" fmla="*/ 923 w 971"/>
              <a:gd name="T13" fmla="*/ 66 h 837"/>
              <a:gd name="T14" fmla="*/ 418 w 971"/>
              <a:gd name="T15" fmla="*/ 66 h 837"/>
              <a:gd name="T16" fmla="*/ 65 w 971"/>
              <a:gd name="T17" fmla="*/ 418 h 837"/>
              <a:gd name="T18" fmla="*/ 418 w 971"/>
              <a:gd name="T19" fmla="*/ 771 h 837"/>
              <a:gd name="T20" fmla="*/ 938 w 971"/>
              <a:gd name="T21" fmla="*/ 771 h 837"/>
              <a:gd name="T22" fmla="*/ 971 w 971"/>
              <a:gd name="T23" fmla="*/ 804 h 837"/>
              <a:gd name="T24" fmla="*/ 938 w 971"/>
              <a:gd name="T25" fmla="*/ 837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837">
                <a:moveTo>
                  <a:pt x="938" y="837"/>
                </a:moveTo>
                <a:cubicBezTo>
                  <a:pt x="418" y="837"/>
                  <a:pt x="418" y="837"/>
                  <a:pt x="418" y="837"/>
                </a:cubicBezTo>
                <a:cubicBezTo>
                  <a:pt x="187" y="837"/>
                  <a:pt x="0" y="649"/>
                  <a:pt x="0" y="418"/>
                </a:cubicBezTo>
                <a:cubicBezTo>
                  <a:pt x="0" y="188"/>
                  <a:pt x="187" y="0"/>
                  <a:pt x="418" y="0"/>
                </a:cubicBezTo>
                <a:cubicBezTo>
                  <a:pt x="923" y="0"/>
                  <a:pt x="923" y="0"/>
                  <a:pt x="923" y="0"/>
                </a:cubicBezTo>
                <a:cubicBezTo>
                  <a:pt x="942" y="0"/>
                  <a:pt x="956" y="15"/>
                  <a:pt x="956" y="33"/>
                </a:cubicBezTo>
                <a:cubicBezTo>
                  <a:pt x="956" y="51"/>
                  <a:pt x="942" y="66"/>
                  <a:pt x="923" y="66"/>
                </a:cubicBezTo>
                <a:cubicBezTo>
                  <a:pt x="418" y="66"/>
                  <a:pt x="418" y="66"/>
                  <a:pt x="418" y="66"/>
                </a:cubicBezTo>
                <a:cubicBezTo>
                  <a:pt x="223" y="66"/>
                  <a:pt x="65" y="224"/>
                  <a:pt x="65" y="418"/>
                </a:cubicBezTo>
                <a:cubicBezTo>
                  <a:pt x="65" y="613"/>
                  <a:pt x="223" y="771"/>
                  <a:pt x="418" y="771"/>
                </a:cubicBezTo>
                <a:cubicBezTo>
                  <a:pt x="938" y="771"/>
                  <a:pt x="938" y="771"/>
                  <a:pt x="938" y="771"/>
                </a:cubicBezTo>
                <a:cubicBezTo>
                  <a:pt x="957" y="771"/>
                  <a:pt x="971" y="786"/>
                  <a:pt x="971" y="804"/>
                </a:cubicBezTo>
                <a:cubicBezTo>
                  <a:pt x="971" y="822"/>
                  <a:pt x="957" y="837"/>
                  <a:pt x="938" y="8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8" name="Freeform 29"/>
          <p:cNvSpPr>
            <a:spLocks/>
          </p:cNvSpPr>
          <p:nvPr userDrawn="1"/>
        </p:nvSpPr>
        <p:spPr bwMode="auto">
          <a:xfrm flipH="1">
            <a:off x="4487863" y="2333625"/>
            <a:ext cx="1109663" cy="960438"/>
          </a:xfrm>
          <a:custGeom>
            <a:avLst/>
            <a:gdLst>
              <a:gd name="T0" fmla="*/ 666 w 699"/>
              <a:gd name="T1" fmla="*/ 605 h 605"/>
              <a:gd name="T2" fmla="*/ 302 w 699"/>
              <a:gd name="T3" fmla="*/ 605 h 605"/>
              <a:gd name="T4" fmla="*/ 0 w 699"/>
              <a:gd name="T5" fmla="*/ 302 h 605"/>
              <a:gd name="T6" fmla="*/ 302 w 699"/>
              <a:gd name="T7" fmla="*/ 0 h 605"/>
              <a:gd name="T8" fmla="*/ 656 w 699"/>
              <a:gd name="T9" fmla="*/ 0 h 605"/>
              <a:gd name="T10" fmla="*/ 688 w 699"/>
              <a:gd name="T11" fmla="*/ 33 h 605"/>
              <a:gd name="T12" fmla="*/ 656 w 699"/>
              <a:gd name="T13" fmla="*/ 66 h 605"/>
              <a:gd name="T14" fmla="*/ 302 w 699"/>
              <a:gd name="T15" fmla="*/ 66 h 605"/>
              <a:gd name="T16" fmla="*/ 66 w 699"/>
              <a:gd name="T17" fmla="*/ 302 h 605"/>
              <a:gd name="T18" fmla="*/ 302 w 699"/>
              <a:gd name="T19" fmla="*/ 539 h 605"/>
              <a:gd name="T20" fmla="*/ 666 w 699"/>
              <a:gd name="T21" fmla="*/ 539 h 605"/>
              <a:gd name="T22" fmla="*/ 699 w 699"/>
              <a:gd name="T23" fmla="*/ 572 h 605"/>
              <a:gd name="T24" fmla="*/ 666 w 699"/>
              <a:gd name="T25" fmla="*/ 605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9" h="605">
                <a:moveTo>
                  <a:pt x="666" y="605"/>
                </a:moveTo>
                <a:cubicBezTo>
                  <a:pt x="302" y="605"/>
                  <a:pt x="302" y="605"/>
                  <a:pt x="302" y="605"/>
                </a:cubicBezTo>
                <a:cubicBezTo>
                  <a:pt x="136" y="605"/>
                  <a:pt x="0" y="469"/>
                  <a:pt x="0" y="302"/>
                </a:cubicBezTo>
                <a:cubicBezTo>
                  <a:pt x="0" y="136"/>
                  <a:pt x="136" y="0"/>
                  <a:pt x="302" y="0"/>
                </a:cubicBezTo>
                <a:cubicBezTo>
                  <a:pt x="656" y="0"/>
                  <a:pt x="656" y="0"/>
                  <a:pt x="656" y="0"/>
                </a:cubicBezTo>
                <a:cubicBezTo>
                  <a:pt x="674" y="0"/>
                  <a:pt x="688" y="15"/>
                  <a:pt x="688" y="33"/>
                </a:cubicBezTo>
                <a:cubicBezTo>
                  <a:pt x="688" y="51"/>
                  <a:pt x="674" y="66"/>
                  <a:pt x="656" y="66"/>
                </a:cubicBezTo>
                <a:cubicBezTo>
                  <a:pt x="302" y="66"/>
                  <a:pt x="302" y="66"/>
                  <a:pt x="302" y="66"/>
                </a:cubicBezTo>
                <a:cubicBezTo>
                  <a:pt x="172" y="66"/>
                  <a:pt x="66" y="172"/>
                  <a:pt x="66" y="302"/>
                </a:cubicBezTo>
                <a:cubicBezTo>
                  <a:pt x="66" y="433"/>
                  <a:pt x="172" y="539"/>
                  <a:pt x="302" y="539"/>
                </a:cubicBezTo>
                <a:cubicBezTo>
                  <a:pt x="666" y="539"/>
                  <a:pt x="666" y="539"/>
                  <a:pt x="666" y="539"/>
                </a:cubicBezTo>
                <a:cubicBezTo>
                  <a:pt x="684" y="539"/>
                  <a:pt x="699" y="554"/>
                  <a:pt x="699" y="572"/>
                </a:cubicBezTo>
                <a:cubicBezTo>
                  <a:pt x="699" y="590"/>
                  <a:pt x="684" y="605"/>
                  <a:pt x="666" y="6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9" name="Rectangle 30"/>
          <p:cNvSpPr>
            <a:spLocks noChangeArrowheads="1"/>
          </p:cNvSpPr>
          <p:nvPr userDrawn="1"/>
        </p:nvSpPr>
        <p:spPr bwMode="auto">
          <a:xfrm flipH="1">
            <a:off x="2682875" y="3911600"/>
            <a:ext cx="192088" cy="228600"/>
          </a:xfrm>
          <a:prstGeom prst="rect">
            <a:avLst/>
          </a:prstGeom>
          <a:solidFill>
            <a:srgbClr val="2763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0" name="Rectangle 31"/>
          <p:cNvSpPr>
            <a:spLocks noChangeArrowheads="1"/>
          </p:cNvSpPr>
          <p:nvPr userDrawn="1"/>
        </p:nvSpPr>
        <p:spPr bwMode="auto">
          <a:xfrm flipH="1">
            <a:off x="2682875" y="4081462"/>
            <a:ext cx="192088" cy="58738"/>
          </a:xfrm>
          <a:prstGeom prst="rect">
            <a:avLst/>
          </a:prstGeom>
          <a:solidFill>
            <a:srgbClr val="155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1" name="Rectangle 32"/>
          <p:cNvSpPr>
            <a:spLocks noChangeArrowheads="1"/>
          </p:cNvSpPr>
          <p:nvPr userDrawn="1"/>
        </p:nvSpPr>
        <p:spPr bwMode="auto">
          <a:xfrm flipH="1">
            <a:off x="2603500" y="4138612"/>
            <a:ext cx="350838" cy="114300"/>
          </a:xfrm>
          <a:prstGeom prst="rect">
            <a:avLst/>
          </a:prstGeom>
          <a:solidFill>
            <a:srgbClr val="2763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2" name="Rectangle 33"/>
          <p:cNvSpPr>
            <a:spLocks noChangeArrowheads="1"/>
          </p:cNvSpPr>
          <p:nvPr userDrawn="1"/>
        </p:nvSpPr>
        <p:spPr bwMode="auto">
          <a:xfrm flipH="1">
            <a:off x="2603500" y="4210050"/>
            <a:ext cx="350838" cy="42863"/>
          </a:xfrm>
          <a:prstGeom prst="rect">
            <a:avLst/>
          </a:prstGeom>
          <a:solidFill>
            <a:srgbClr val="155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3" name="Rectangle 34"/>
          <p:cNvSpPr>
            <a:spLocks noChangeArrowheads="1"/>
          </p:cNvSpPr>
          <p:nvPr userDrawn="1"/>
        </p:nvSpPr>
        <p:spPr bwMode="auto">
          <a:xfrm flipH="1">
            <a:off x="2430463" y="4252912"/>
            <a:ext cx="698500" cy="147638"/>
          </a:xfrm>
          <a:prstGeom prst="rect">
            <a:avLst/>
          </a:prstGeom>
          <a:solidFill>
            <a:srgbClr val="2763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4" name="Rectangle 35"/>
          <p:cNvSpPr>
            <a:spLocks noChangeArrowheads="1"/>
          </p:cNvSpPr>
          <p:nvPr userDrawn="1"/>
        </p:nvSpPr>
        <p:spPr bwMode="auto">
          <a:xfrm flipH="1">
            <a:off x="2430463" y="4344987"/>
            <a:ext cx="698500" cy="55563"/>
          </a:xfrm>
          <a:prstGeom prst="rect">
            <a:avLst/>
          </a:prstGeom>
          <a:solidFill>
            <a:srgbClr val="155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Freeform 36"/>
          <p:cNvSpPr>
            <a:spLocks/>
          </p:cNvSpPr>
          <p:nvPr userDrawn="1"/>
        </p:nvSpPr>
        <p:spPr bwMode="auto">
          <a:xfrm flipH="1">
            <a:off x="2197100" y="1897062"/>
            <a:ext cx="1214438" cy="2058988"/>
          </a:xfrm>
          <a:custGeom>
            <a:avLst/>
            <a:gdLst>
              <a:gd name="T0" fmla="*/ 755 w 766"/>
              <a:gd name="T1" fmla="*/ 1293 h 1297"/>
              <a:gd name="T2" fmla="*/ 762 w 766"/>
              <a:gd name="T3" fmla="*/ 1269 h 1297"/>
              <a:gd name="T4" fmla="*/ 35 w 766"/>
              <a:gd name="T5" fmla="*/ 11 h 1297"/>
              <a:gd name="T6" fmla="*/ 12 w 766"/>
              <a:gd name="T7" fmla="*/ 4 h 1297"/>
              <a:gd name="T8" fmla="*/ 5 w 766"/>
              <a:gd name="T9" fmla="*/ 28 h 1297"/>
              <a:gd name="T10" fmla="*/ 732 w 766"/>
              <a:gd name="T11" fmla="*/ 1286 h 1297"/>
              <a:gd name="T12" fmla="*/ 755 w 766"/>
              <a:gd name="T13" fmla="*/ 1293 h 1297"/>
            </a:gdLst>
            <a:ahLst/>
            <a:cxnLst>
              <a:cxn ang="0">
                <a:pos x="T0" y="T1"/>
              </a:cxn>
              <a:cxn ang="0">
                <a:pos x="T2" y="T3"/>
              </a:cxn>
              <a:cxn ang="0">
                <a:pos x="T4" y="T5"/>
              </a:cxn>
              <a:cxn ang="0">
                <a:pos x="T6" y="T7"/>
              </a:cxn>
              <a:cxn ang="0">
                <a:pos x="T8" y="T9"/>
              </a:cxn>
              <a:cxn ang="0">
                <a:pos x="T10" y="T11"/>
              </a:cxn>
              <a:cxn ang="0">
                <a:pos x="T12" y="T13"/>
              </a:cxn>
            </a:cxnLst>
            <a:rect l="0" t="0" r="r" b="b"/>
            <a:pathLst>
              <a:path w="766" h="1297">
                <a:moveTo>
                  <a:pt x="755" y="1293"/>
                </a:moveTo>
                <a:cubicBezTo>
                  <a:pt x="764" y="1288"/>
                  <a:pt x="766" y="1277"/>
                  <a:pt x="762" y="1269"/>
                </a:cubicBezTo>
                <a:cubicBezTo>
                  <a:pt x="35" y="11"/>
                  <a:pt x="35" y="11"/>
                  <a:pt x="35" y="11"/>
                </a:cubicBezTo>
                <a:cubicBezTo>
                  <a:pt x="30" y="2"/>
                  <a:pt x="20" y="0"/>
                  <a:pt x="12" y="4"/>
                </a:cubicBezTo>
                <a:cubicBezTo>
                  <a:pt x="3" y="9"/>
                  <a:pt x="0" y="20"/>
                  <a:pt x="5" y="28"/>
                </a:cubicBezTo>
                <a:cubicBezTo>
                  <a:pt x="732" y="1286"/>
                  <a:pt x="732" y="1286"/>
                  <a:pt x="732" y="1286"/>
                </a:cubicBezTo>
                <a:cubicBezTo>
                  <a:pt x="736" y="1294"/>
                  <a:pt x="747" y="1297"/>
                  <a:pt x="755" y="129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 name="Freeform 39"/>
          <p:cNvSpPr>
            <a:spLocks/>
          </p:cNvSpPr>
          <p:nvPr userDrawn="1"/>
        </p:nvSpPr>
        <p:spPr bwMode="auto">
          <a:xfrm flipH="1">
            <a:off x="2068513" y="1916112"/>
            <a:ext cx="1935163" cy="2189163"/>
          </a:xfrm>
          <a:custGeom>
            <a:avLst/>
            <a:gdLst>
              <a:gd name="T0" fmla="*/ 1070 w 1220"/>
              <a:gd name="T1" fmla="*/ 1200 h 1379"/>
              <a:gd name="T2" fmla="*/ 1209 w 1220"/>
              <a:gd name="T3" fmla="*/ 1092 h 1379"/>
              <a:gd name="T4" fmla="*/ 1209 w 1220"/>
              <a:gd name="T5" fmla="*/ 1051 h 1379"/>
              <a:gd name="T6" fmla="*/ 1168 w 1220"/>
              <a:gd name="T7" fmla="*/ 1052 h 1379"/>
              <a:gd name="T8" fmla="*/ 1041 w 1220"/>
              <a:gd name="T9" fmla="*/ 1150 h 1379"/>
              <a:gd name="T10" fmla="*/ 230 w 1220"/>
              <a:gd name="T11" fmla="*/ 932 h 1379"/>
              <a:gd name="T12" fmla="*/ 447 w 1220"/>
              <a:gd name="T13" fmla="*/ 121 h 1379"/>
              <a:gd name="T14" fmla="*/ 595 w 1220"/>
              <a:gd name="T15" fmla="*/ 60 h 1379"/>
              <a:gd name="T16" fmla="*/ 616 w 1220"/>
              <a:gd name="T17" fmla="*/ 25 h 1379"/>
              <a:gd name="T18" fmla="*/ 581 w 1220"/>
              <a:gd name="T19" fmla="*/ 4 h 1379"/>
              <a:gd name="T20" fmla="*/ 418 w 1220"/>
              <a:gd name="T21" fmla="*/ 71 h 1379"/>
              <a:gd name="T22" fmla="*/ 180 w 1220"/>
              <a:gd name="T23" fmla="*/ 961 h 1379"/>
              <a:gd name="T24" fmla="*/ 1070 w 1220"/>
              <a:gd name="T25" fmla="*/ 120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0" h="1379">
                <a:moveTo>
                  <a:pt x="1070" y="1200"/>
                </a:moveTo>
                <a:cubicBezTo>
                  <a:pt x="1121" y="1170"/>
                  <a:pt x="1168" y="1134"/>
                  <a:pt x="1209" y="1092"/>
                </a:cubicBezTo>
                <a:cubicBezTo>
                  <a:pt x="1220" y="1081"/>
                  <a:pt x="1220" y="1063"/>
                  <a:pt x="1209" y="1051"/>
                </a:cubicBezTo>
                <a:cubicBezTo>
                  <a:pt x="1197" y="1040"/>
                  <a:pt x="1179" y="1040"/>
                  <a:pt x="1168" y="1052"/>
                </a:cubicBezTo>
                <a:cubicBezTo>
                  <a:pt x="1130" y="1090"/>
                  <a:pt x="1088" y="1123"/>
                  <a:pt x="1041" y="1150"/>
                </a:cubicBezTo>
                <a:cubicBezTo>
                  <a:pt x="758" y="1313"/>
                  <a:pt x="394" y="1216"/>
                  <a:pt x="230" y="932"/>
                </a:cubicBezTo>
                <a:cubicBezTo>
                  <a:pt x="66" y="649"/>
                  <a:pt x="164" y="285"/>
                  <a:pt x="447" y="121"/>
                </a:cubicBezTo>
                <a:cubicBezTo>
                  <a:pt x="494" y="94"/>
                  <a:pt x="544" y="73"/>
                  <a:pt x="595" y="60"/>
                </a:cubicBezTo>
                <a:cubicBezTo>
                  <a:pt x="611" y="56"/>
                  <a:pt x="620" y="40"/>
                  <a:pt x="616" y="25"/>
                </a:cubicBezTo>
                <a:cubicBezTo>
                  <a:pt x="612" y="9"/>
                  <a:pt x="596" y="0"/>
                  <a:pt x="581" y="4"/>
                </a:cubicBezTo>
                <a:cubicBezTo>
                  <a:pt x="524" y="19"/>
                  <a:pt x="469" y="41"/>
                  <a:pt x="418" y="71"/>
                </a:cubicBezTo>
                <a:cubicBezTo>
                  <a:pt x="107" y="250"/>
                  <a:pt x="0" y="650"/>
                  <a:pt x="180" y="961"/>
                </a:cubicBezTo>
                <a:cubicBezTo>
                  <a:pt x="359" y="1272"/>
                  <a:pt x="759" y="1379"/>
                  <a:pt x="1070" y="12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7" name="Freeform 40"/>
          <p:cNvSpPr>
            <a:spLocks/>
          </p:cNvSpPr>
          <p:nvPr userDrawn="1"/>
        </p:nvSpPr>
        <p:spPr bwMode="auto">
          <a:xfrm flipH="1">
            <a:off x="2087563" y="1957387"/>
            <a:ext cx="1863725" cy="2097088"/>
          </a:xfrm>
          <a:custGeom>
            <a:avLst/>
            <a:gdLst>
              <a:gd name="T0" fmla="*/ 400 w 1175"/>
              <a:gd name="T1" fmla="*/ 70 h 1321"/>
              <a:gd name="T2" fmla="*/ 583 w 1175"/>
              <a:gd name="T3" fmla="*/ 0 h 1321"/>
              <a:gd name="T4" fmla="*/ 562 w 1175"/>
              <a:gd name="T5" fmla="*/ 34 h 1321"/>
              <a:gd name="T6" fmla="*/ 414 w 1175"/>
              <a:gd name="T7" fmla="*/ 95 h 1321"/>
              <a:gd name="T8" fmla="*/ 197 w 1175"/>
              <a:gd name="T9" fmla="*/ 906 h 1321"/>
              <a:gd name="T10" fmla="*/ 1008 w 1175"/>
              <a:gd name="T11" fmla="*/ 1124 h 1321"/>
              <a:gd name="T12" fmla="*/ 1135 w 1175"/>
              <a:gd name="T13" fmla="*/ 1026 h 1321"/>
              <a:gd name="T14" fmla="*/ 1175 w 1175"/>
              <a:gd name="T15" fmla="*/ 1025 h 1321"/>
              <a:gd name="T16" fmla="*/ 1023 w 1175"/>
              <a:gd name="T17" fmla="*/ 1149 h 1321"/>
              <a:gd name="T18" fmla="*/ 172 w 1175"/>
              <a:gd name="T19" fmla="*/ 921 h 1321"/>
              <a:gd name="T20" fmla="*/ 400 w 1175"/>
              <a:gd name="T21" fmla="*/ 70 h 1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5" h="1321">
                <a:moveTo>
                  <a:pt x="400" y="70"/>
                </a:moveTo>
                <a:cubicBezTo>
                  <a:pt x="458" y="36"/>
                  <a:pt x="520" y="13"/>
                  <a:pt x="583" y="0"/>
                </a:cubicBezTo>
                <a:cubicBezTo>
                  <a:pt x="587" y="15"/>
                  <a:pt x="578" y="30"/>
                  <a:pt x="562" y="34"/>
                </a:cubicBezTo>
                <a:cubicBezTo>
                  <a:pt x="511" y="47"/>
                  <a:pt x="461" y="68"/>
                  <a:pt x="414" y="95"/>
                </a:cubicBezTo>
                <a:cubicBezTo>
                  <a:pt x="131" y="259"/>
                  <a:pt x="33" y="623"/>
                  <a:pt x="197" y="906"/>
                </a:cubicBezTo>
                <a:cubicBezTo>
                  <a:pt x="361" y="1190"/>
                  <a:pt x="725" y="1287"/>
                  <a:pt x="1008" y="1124"/>
                </a:cubicBezTo>
                <a:cubicBezTo>
                  <a:pt x="1055" y="1097"/>
                  <a:pt x="1097" y="1064"/>
                  <a:pt x="1135" y="1026"/>
                </a:cubicBezTo>
                <a:cubicBezTo>
                  <a:pt x="1146" y="1015"/>
                  <a:pt x="1164" y="1014"/>
                  <a:pt x="1175" y="1025"/>
                </a:cubicBezTo>
                <a:cubicBezTo>
                  <a:pt x="1132" y="1073"/>
                  <a:pt x="1081" y="1115"/>
                  <a:pt x="1023" y="1149"/>
                </a:cubicBezTo>
                <a:cubicBezTo>
                  <a:pt x="725" y="1321"/>
                  <a:pt x="344" y="1219"/>
                  <a:pt x="172" y="921"/>
                </a:cubicBezTo>
                <a:cubicBezTo>
                  <a:pt x="0" y="623"/>
                  <a:pt x="102" y="242"/>
                  <a:pt x="400" y="70"/>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8" name="Freeform 41"/>
          <p:cNvSpPr>
            <a:spLocks/>
          </p:cNvSpPr>
          <p:nvPr userDrawn="1"/>
        </p:nvSpPr>
        <p:spPr bwMode="auto">
          <a:xfrm flipH="1">
            <a:off x="1893888" y="1995487"/>
            <a:ext cx="1857375" cy="1857375"/>
          </a:xfrm>
          <a:custGeom>
            <a:avLst/>
            <a:gdLst>
              <a:gd name="T0" fmla="*/ 141 w 1171"/>
              <a:gd name="T1" fmla="*/ 841 h 1170"/>
              <a:gd name="T2" fmla="*/ 841 w 1171"/>
              <a:gd name="T3" fmla="*/ 1029 h 1170"/>
              <a:gd name="T4" fmla="*/ 1029 w 1171"/>
              <a:gd name="T5" fmla="*/ 329 h 1170"/>
              <a:gd name="T6" fmla="*/ 329 w 1171"/>
              <a:gd name="T7" fmla="*/ 141 h 1170"/>
              <a:gd name="T8" fmla="*/ 141 w 1171"/>
              <a:gd name="T9" fmla="*/ 841 h 1170"/>
            </a:gdLst>
            <a:ahLst/>
            <a:cxnLst>
              <a:cxn ang="0">
                <a:pos x="T0" y="T1"/>
              </a:cxn>
              <a:cxn ang="0">
                <a:pos x="T2" y="T3"/>
              </a:cxn>
              <a:cxn ang="0">
                <a:pos x="T4" y="T5"/>
              </a:cxn>
              <a:cxn ang="0">
                <a:pos x="T6" y="T7"/>
              </a:cxn>
              <a:cxn ang="0">
                <a:pos x="T8" y="T9"/>
              </a:cxn>
            </a:cxnLst>
            <a:rect l="0" t="0" r="r" b="b"/>
            <a:pathLst>
              <a:path w="1171" h="1170">
                <a:moveTo>
                  <a:pt x="141" y="841"/>
                </a:moveTo>
                <a:cubicBezTo>
                  <a:pt x="283" y="1087"/>
                  <a:pt x="596" y="1170"/>
                  <a:pt x="841" y="1029"/>
                </a:cubicBezTo>
                <a:cubicBezTo>
                  <a:pt x="1087" y="887"/>
                  <a:pt x="1171" y="574"/>
                  <a:pt x="1029" y="329"/>
                </a:cubicBezTo>
                <a:cubicBezTo>
                  <a:pt x="888" y="84"/>
                  <a:pt x="574" y="0"/>
                  <a:pt x="329" y="141"/>
                </a:cubicBezTo>
                <a:cubicBezTo>
                  <a:pt x="84" y="283"/>
                  <a:pt x="0" y="596"/>
                  <a:pt x="141" y="84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 name="Freeform 42"/>
          <p:cNvSpPr>
            <a:spLocks/>
          </p:cNvSpPr>
          <p:nvPr userDrawn="1"/>
        </p:nvSpPr>
        <p:spPr bwMode="auto">
          <a:xfrm flipH="1">
            <a:off x="2100263" y="1995487"/>
            <a:ext cx="1593850" cy="1116013"/>
          </a:xfrm>
          <a:custGeom>
            <a:avLst/>
            <a:gdLst>
              <a:gd name="T0" fmla="*/ 309 w 1005"/>
              <a:gd name="T1" fmla="*/ 187 h 703"/>
              <a:gd name="T2" fmla="*/ 50 w 1005"/>
              <a:gd name="T3" fmla="*/ 703 h 703"/>
              <a:gd name="T4" fmla="*/ 293 w 1005"/>
              <a:gd name="T5" fmla="*/ 141 h 703"/>
              <a:gd name="T6" fmla="*/ 993 w 1005"/>
              <a:gd name="T7" fmla="*/ 329 h 703"/>
              <a:gd name="T8" fmla="*/ 1005 w 1005"/>
              <a:gd name="T9" fmla="*/ 350 h 703"/>
              <a:gd name="T10" fmla="*/ 309 w 1005"/>
              <a:gd name="T11" fmla="*/ 187 h 703"/>
            </a:gdLst>
            <a:ahLst/>
            <a:cxnLst>
              <a:cxn ang="0">
                <a:pos x="T0" y="T1"/>
              </a:cxn>
              <a:cxn ang="0">
                <a:pos x="T2" y="T3"/>
              </a:cxn>
              <a:cxn ang="0">
                <a:pos x="T4" y="T5"/>
              </a:cxn>
              <a:cxn ang="0">
                <a:pos x="T6" y="T7"/>
              </a:cxn>
              <a:cxn ang="0">
                <a:pos x="T8" y="T9"/>
              </a:cxn>
              <a:cxn ang="0">
                <a:pos x="T10" y="T11"/>
              </a:cxn>
            </a:cxnLst>
            <a:rect l="0" t="0" r="r" b="b"/>
            <a:pathLst>
              <a:path w="1005" h="703">
                <a:moveTo>
                  <a:pt x="309" y="187"/>
                </a:moveTo>
                <a:cubicBezTo>
                  <a:pt x="121" y="296"/>
                  <a:pt x="25" y="502"/>
                  <a:pt x="50" y="703"/>
                </a:cubicBezTo>
                <a:cubicBezTo>
                  <a:pt x="0" y="488"/>
                  <a:pt x="93" y="257"/>
                  <a:pt x="293" y="141"/>
                </a:cubicBezTo>
                <a:cubicBezTo>
                  <a:pt x="538" y="0"/>
                  <a:pt x="852" y="84"/>
                  <a:pt x="993" y="329"/>
                </a:cubicBezTo>
                <a:cubicBezTo>
                  <a:pt x="997" y="336"/>
                  <a:pt x="1001" y="343"/>
                  <a:pt x="1005" y="350"/>
                </a:cubicBezTo>
                <a:cubicBezTo>
                  <a:pt x="858" y="121"/>
                  <a:pt x="552" y="47"/>
                  <a:pt x="309" y="18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 name="Freeform 43"/>
          <p:cNvSpPr>
            <a:spLocks/>
          </p:cNvSpPr>
          <p:nvPr userDrawn="1"/>
        </p:nvSpPr>
        <p:spPr bwMode="auto">
          <a:xfrm flipH="1">
            <a:off x="2003426" y="2692400"/>
            <a:ext cx="1660525" cy="1160463"/>
          </a:xfrm>
          <a:custGeom>
            <a:avLst/>
            <a:gdLst>
              <a:gd name="T0" fmla="*/ 39 w 1047"/>
              <a:gd name="T1" fmla="*/ 0 h 731"/>
              <a:gd name="T2" fmla="*/ 108 w 1047"/>
              <a:gd name="T3" fmla="*/ 242 h 731"/>
              <a:gd name="T4" fmla="*/ 808 w 1047"/>
              <a:gd name="T5" fmla="*/ 429 h 731"/>
              <a:gd name="T6" fmla="*/ 1043 w 1047"/>
              <a:gd name="T7" fmla="*/ 132 h 731"/>
              <a:gd name="T8" fmla="*/ 786 w 1047"/>
              <a:gd name="T9" fmla="*/ 590 h 731"/>
              <a:gd name="T10" fmla="*/ 86 w 1047"/>
              <a:gd name="T11" fmla="*/ 402 h 731"/>
              <a:gd name="T12" fmla="*/ 39 w 1047"/>
              <a:gd name="T13" fmla="*/ 0 h 731"/>
            </a:gdLst>
            <a:ahLst/>
            <a:cxnLst>
              <a:cxn ang="0">
                <a:pos x="T0" y="T1"/>
              </a:cxn>
              <a:cxn ang="0">
                <a:pos x="T2" y="T3"/>
              </a:cxn>
              <a:cxn ang="0">
                <a:pos x="T4" y="T5"/>
              </a:cxn>
              <a:cxn ang="0">
                <a:pos x="T6" y="T7"/>
              </a:cxn>
              <a:cxn ang="0">
                <a:pos x="T8" y="T9"/>
              </a:cxn>
              <a:cxn ang="0">
                <a:pos x="T10" y="T11"/>
              </a:cxn>
              <a:cxn ang="0">
                <a:pos x="T12" y="T13"/>
              </a:cxn>
            </a:cxnLst>
            <a:rect l="0" t="0" r="r" b="b"/>
            <a:pathLst>
              <a:path w="1047" h="731">
                <a:moveTo>
                  <a:pt x="39" y="0"/>
                </a:moveTo>
                <a:cubicBezTo>
                  <a:pt x="41" y="82"/>
                  <a:pt x="64" y="165"/>
                  <a:pt x="108" y="242"/>
                </a:cubicBezTo>
                <a:cubicBezTo>
                  <a:pt x="249" y="487"/>
                  <a:pt x="563" y="571"/>
                  <a:pt x="808" y="429"/>
                </a:cubicBezTo>
                <a:cubicBezTo>
                  <a:pt x="926" y="361"/>
                  <a:pt x="1007" y="253"/>
                  <a:pt x="1043" y="132"/>
                </a:cubicBezTo>
                <a:cubicBezTo>
                  <a:pt x="1047" y="314"/>
                  <a:pt x="955" y="493"/>
                  <a:pt x="786" y="590"/>
                </a:cubicBezTo>
                <a:cubicBezTo>
                  <a:pt x="541" y="731"/>
                  <a:pt x="228" y="648"/>
                  <a:pt x="86" y="402"/>
                </a:cubicBezTo>
                <a:cubicBezTo>
                  <a:pt x="13" y="275"/>
                  <a:pt x="0" y="130"/>
                  <a:pt x="39" y="0"/>
                </a:cubicBezTo>
                <a:close/>
              </a:path>
            </a:pathLst>
          </a:custGeom>
          <a:solidFill>
            <a:srgbClr val="2184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 name="Freeform 44"/>
          <p:cNvSpPr>
            <a:spLocks/>
          </p:cNvSpPr>
          <p:nvPr userDrawn="1"/>
        </p:nvSpPr>
        <p:spPr bwMode="auto">
          <a:xfrm flipH="1">
            <a:off x="2932113" y="2568575"/>
            <a:ext cx="703263" cy="1155700"/>
          </a:xfrm>
          <a:custGeom>
            <a:avLst/>
            <a:gdLst>
              <a:gd name="T0" fmla="*/ 54 w 443"/>
              <a:gd name="T1" fmla="*/ 454 h 728"/>
              <a:gd name="T2" fmla="*/ 47 w 443"/>
              <a:gd name="T3" fmla="*/ 440 h 728"/>
              <a:gd name="T4" fmla="*/ 40 w 443"/>
              <a:gd name="T5" fmla="*/ 422 h 728"/>
              <a:gd name="T6" fmla="*/ 34 w 443"/>
              <a:gd name="T7" fmla="*/ 408 h 728"/>
              <a:gd name="T8" fmla="*/ 29 w 443"/>
              <a:gd name="T9" fmla="*/ 394 h 728"/>
              <a:gd name="T10" fmla="*/ 24 w 443"/>
              <a:gd name="T11" fmla="*/ 380 h 728"/>
              <a:gd name="T12" fmla="*/ 19 w 443"/>
              <a:gd name="T13" fmla="*/ 362 h 728"/>
              <a:gd name="T14" fmla="*/ 15 w 443"/>
              <a:gd name="T15" fmla="*/ 347 h 728"/>
              <a:gd name="T16" fmla="*/ 11 w 443"/>
              <a:gd name="T17" fmla="*/ 333 h 728"/>
              <a:gd name="T18" fmla="*/ 8 w 443"/>
              <a:gd name="T19" fmla="*/ 319 h 728"/>
              <a:gd name="T20" fmla="*/ 5 w 443"/>
              <a:gd name="T21" fmla="*/ 300 h 728"/>
              <a:gd name="T22" fmla="*/ 3 w 443"/>
              <a:gd name="T23" fmla="*/ 286 h 728"/>
              <a:gd name="T24" fmla="*/ 2 w 443"/>
              <a:gd name="T25" fmla="*/ 271 h 728"/>
              <a:gd name="T26" fmla="*/ 1 w 443"/>
              <a:gd name="T27" fmla="*/ 257 h 728"/>
              <a:gd name="T28" fmla="*/ 0 w 443"/>
              <a:gd name="T29" fmla="*/ 238 h 728"/>
              <a:gd name="T30" fmla="*/ 0 w 443"/>
              <a:gd name="T31" fmla="*/ 224 h 728"/>
              <a:gd name="T32" fmla="*/ 0 w 443"/>
              <a:gd name="T33" fmla="*/ 210 h 728"/>
              <a:gd name="T34" fmla="*/ 1 w 443"/>
              <a:gd name="T35" fmla="*/ 195 h 728"/>
              <a:gd name="T36" fmla="*/ 4 w 443"/>
              <a:gd name="T37" fmla="*/ 162 h 728"/>
              <a:gd name="T38" fmla="*/ 6 w 443"/>
              <a:gd name="T39" fmla="*/ 148 h 728"/>
              <a:gd name="T40" fmla="*/ 8 w 443"/>
              <a:gd name="T41" fmla="*/ 133 h 728"/>
              <a:gd name="T42" fmla="*/ 15 w 443"/>
              <a:gd name="T43" fmla="*/ 102 h 728"/>
              <a:gd name="T44" fmla="*/ 18 w 443"/>
              <a:gd name="T45" fmla="*/ 88 h 728"/>
              <a:gd name="T46" fmla="*/ 22 w 443"/>
              <a:gd name="T47" fmla="*/ 74 h 728"/>
              <a:gd name="T48" fmla="*/ 33 w 443"/>
              <a:gd name="T49" fmla="*/ 43 h 728"/>
              <a:gd name="T50" fmla="*/ 38 w 443"/>
              <a:gd name="T51" fmla="*/ 30 h 728"/>
              <a:gd name="T52" fmla="*/ 44 w 443"/>
              <a:gd name="T53" fmla="*/ 16 h 728"/>
              <a:gd name="T54" fmla="*/ 51 w 443"/>
              <a:gd name="T55" fmla="*/ 0 h 728"/>
              <a:gd name="T56" fmla="*/ 125 w 443"/>
              <a:gd name="T57" fmla="*/ 84 h 728"/>
              <a:gd name="T58" fmla="*/ 339 w 443"/>
              <a:gd name="T59" fmla="*/ 99 h 728"/>
              <a:gd name="T60" fmla="*/ 336 w 443"/>
              <a:gd name="T61" fmla="*/ 310 h 728"/>
              <a:gd name="T62" fmla="*/ 314 w 443"/>
              <a:gd name="T63" fmla="*/ 556 h 728"/>
              <a:gd name="T64" fmla="*/ 418 w 443"/>
              <a:gd name="T65" fmla="*/ 728 h 728"/>
              <a:gd name="T66" fmla="*/ 365 w 443"/>
              <a:gd name="T67" fmla="*/ 715 h 728"/>
              <a:gd name="T68" fmla="*/ 352 w 443"/>
              <a:gd name="T69" fmla="*/ 711 h 728"/>
              <a:gd name="T70" fmla="*/ 338 w 443"/>
              <a:gd name="T71" fmla="*/ 706 h 728"/>
              <a:gd name="T72" fmla="*/ 326 w 443"/>
              <a:gd name="T73" fmla="*/ 702 h 728"/>
              <a:gd name="T74" fmla="*/ 314 w 443"/>
              <a:gd name="T75" fmla="*/ 697 h 728"/>
              <a:gd name="T76" fmla="*/ 301 w 443"/>
              <a:gd name="T77" fmla="*/ 691 h 728"/>
              <a:gd name="T78" fmla="*/ 289 w 443"/>
              <a:gd name="T79" fmla="*/ 686 h 728"/>
              <a:gd name="T80" fmla="*/ 240 w 443"/>
              <a:gd name="T81" fmla="*/ 659 h 728"/>
              <a:gd name="T82" fmla="*/ 229 w 443"/>
              <a:gd name="T83" fmla="*/ 651 h 728"/>
              <a:gd name="T84" fmla="*/ 217 w 443"/>
              <a:gd name="T85" fmla="*/ 643 h 728"/>
              <a:gd name="T86" fmla="*/ 206 w 443"/>
              <a:gd name="T87" fmla="*/ 635 h 728"/>
              <a:gd name="T88" fmla="*/ 196 w 443"/>
              <a:gd name="T89" fmla="*/ 627 h 728"/>
              <a:gd name="T90" fmla="*/ 185 w 443"/>
              <a:gd name="T91" fmla="*/ 619 h 728"/>
              <a:gd name="T92" fmla="*/ 175 w 443"/>
              <a:gd name="T93" fmla="*/ 610 h 728"/>
              <a:gd name="T94" fmla="*/ 165 w 443"/>
              <a:gd name="T95" fmla="*/ 601 h 728"/>
              <a:gd name="T96" fmla="*/ 144 w 443"/>
              <a:gd name="T97" fmla="*/ 580 h 728"/>
              <a:gd name="T98" fmla="*/ 134 w 443"/>
              <a:gd name="T99" fmla="*/ 570 h 728"/>
              <a:gd name="T100" fmla="*/ 124 w 443"/>
              <a:gd name="T101" fmla="*/ 559 h 728"/>
              <a:gd name="T102" fmla="*/ 115 w 443"/>
              <a:gd name="T103" fmla="*/ 548 h 728"/>
              <a:gd name="T104" fmla="*/ 107 w 443"/>
              <a:gd name="T105" fmla="*/ 538 h 728"/>
              <a:gd name="T106" fmla="*/ 99 w 443"/>
              <a:gd name="T107" fmla="*/ 527 h 728"/>
              <a:gd name="T108" fmla="*/ 91 w 443"/>
              <a:gd name="T109" fmla="*/ 516 h 728"/>
              <a:gd name="T110" fmla="*/ 83 w 443"/>
              <a:gd name="T111" fmla="*/ 504 h 728"/>
              <a:gd name="T112" fmla="*/ 76 w 443"/>
              <a:gd name="T113" fmla="*/ 492 h 728"/>
              <a:gd name="T114" fmla="*/ 61 w 443"/>
              <a:gd name="T115" fmla="*/ 46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3" h="728">
                <a:moveTo>
                  <a:pt x="59" y="463"/>
                </a:moveTo>
                <a:cubicBezTo>
                  <a:pt x="57" y="460"/>
                  <a:pt x="56" y="457"/>
                  <a:pt x="54" y="454"/>
                </a:cubicBezTo>
                <a:cubicBezTo>
                  <a:pt x="53" y="452"/>
                  <a:pt x="53" y="451"/>
                  <a:pt x="52" y="449"/>
                </a:cubicBezTo>
                <a:cubicBezTo>
                  <a:pt x="50" y="446"/>
                  <a:pt x="49" y="443"/>
                  <a:pt x="47" y="440"/>
                </a:cubicBezTo>
                <a:cubicBezTo>
                  <a:pt x="47" y="438"/>
                  <a:pt x="46" y="437"/>
                  <a:pt x="45" y="435"/>
                </a:cubicBezTo>
                <a:cubicBezTo>
                  <a:pt x="43" y="431"/>
                  <a:pt x="41" y="427"/>
                  <a:pt x="40" y="422"/>
                </a:cubicBezTo>
                <a:cubicBezTo>
                  <a:pt x="39" y="422"/>
                  <a:pt x="39" y="422"/>
                  <a:pt x="39" y="422"/>
                </a:cubicBezTo>
                <a:cubicBezTo>
                  <a:pt x="38" y="417"/>
                  <a:pt x="36" y="413"/>
                  <a:pt x="34" y="408"/>
                </a:cubicBezTo>
                <a:cubicBezTo>
                  <a:pt x="33" y="407"/>
                  <a:pt x="33" y="405"/>
                  <a:pt x="32" y="404"/>
                </a:cubicBezTo>
                <a:cubicBezTo>
                  <a:pt x="31" y="401"/>
                  <a:pt x="30" y="398"/>
                  <a:pt x="29" y="394"/>
                </a:cubicBezTo>
                <a:cubicBezTo>
                  <a:pt x="28" y="393"/>
                  <a:pt x="28" y="391"/>
                  <a:pt x="27" y="390"/>
                </a:cubicBezTo>
                <a:cubicBezTo>
                  <a:pt x="26" y="386"/>
                  <a:pt x="25" y="383"/>
                  <a:pt x="24" y="380"/>
                </a:cubicBezTo>
                <a:cubicBezTo>
                  <a:pt x="23" y="378"/>
                  <a:pt x="23" y="377"/>
                  <a:pt x="23" y="375"/>
                </a:cubicBezTo>
                <a:cubicBezTo>
                  <a:pt x="21" y="371"/>
                  <a:pt x="20" y="366"/>
                  <a:pt x="19" y="362"/>
                </a:cubicBezTo>
                <a:cubicBezTo>
                  <a:pt x="18" y="362"/>
                  <a:pt x="18" y="362"/>
                  <a:pt x="18" y="362"/>
                </a:cubicBezTo>
                <a:cubicBezTo>
                  <a:pt x="17" y="357"/>
                  <a:pt x="16" y="352"/>
                  <a:pt x="15" y="347"/>
                </a:cubicBezTo>
                <a:cubicBezTo>
                  <a:pt x="14" y="346"/>
                  <a:pt x="14" y="345"/>
                  <a:pt x="14" y="343"/>
                </a:cubicBezTo>
                <a:cubicBezTo>
                  <a:pt x="13" y="340"/>
                  <a:pt x="12" y="337"/>
                  <a:pt x="11" y="333"/>
                </a:cubicBezTo>
                <a:cubicBezTo>
                  <a:pt x="11" y="332"/>
                  <a:pt x="11" y="330"/>
                  <a:pt x="10" y="329"/>
                </a:cubicBezTo>
                <a:cubicBezTo>
                  <a:pt x="10" y="325"/>
                  <a:pt x="9" y="322"/>
                  <a:pt x="8" y="319"/>
                </a:cubicBezTo>
                <a:cubicBezTo>
                  <a:pt x="8" y="317"/>
                  <a:pt x="8" y="316"/>
                  <a:pt x="8" y="314"/>
                </a:cubicBezTo>
                <a:cubicBezTo>
                  <a:pt x="7" y="310"/>
                  <a:pt x="6" y="305"/>
                  <a:pt x="5" y="300"/>
                </a:cubicBezTo>
                <a:cubicBezTo>
                  <a:pt x="5" y="300"/>
                  <a:pt x="5" y="300"/>
                  <a:pt x="5" y="300"/>
                </a:cubicBezTo>
                <a:cubicBezTo>
                  <a:pt x="5" y="295"/>
                  <a:pt x="4" y="291"/>
                  <a:pt x="3" y="286"/>
                </a:cubicBezTo>
                <a:cubicBezTo>
                  <a:pt x="3" y="285"/>
                  <a:pt x="3" y="283"/>
                  <a:pt x="3" y="282"/>
                </a:cubicBezTo>
                <a:cubicBezTo>
                  <a:pt x="3" y="278"/>
                  <a:pt x="2" y="275"/>
                  <a:pt x="2" y="271"/>
                </a:cubicBezTo>
                <a:cubicBezTo>
                  <a:pt x="2" y="270"/>
                  <a:pt x="2" y="268"/>
                  <a:pt x="2" y="267"/>
                </a:cubicBezTo>
                <a:cubicBezTo>
                  <a:pt x="1" y="263"/>
                  <a:pt x="1" y="260"/>
                  <a:pt x="1" y="257"/>
                </a:cubicBezTo>
                <a:cubicBezTo>
                  <a:pt x="1" y="255"/>
                  <a:pt x="1" y="254"/>
                  <a:pt x="1" y="252"/>
                </a:cubicBezTo>
                <a:cubicBezTo>
                  <a:pt x="0" y="248"/>
                  <a:pt x="0" y="243"/>
                  <a:pt x="0" y="238"/>
                </a:cubicBezTo>
                <a:cubicBezTo>
                  <a:pt x="0" y="238"/>
                  <a:pt x="0" y="238"/>
                  <a:pt x="0" y="238"/>
                </a:cubicBezTo>
                <a:cubicBezTo>
                  <a:pt x="0" y="233"/>
                  <a:pt x="0" y="229"/>
                  <a:pt x="0" y="224"/>
                </a:cubicBezTo>
                <a:cubicBezTo>
                  <a:pt x="0" y="223"/>
                  <a:pt x="0" y="221"/>
                  <a:pt x="0" y="220"/>
                </a:cubicBezTo>
                <a:cubicBezTo>
                  <a:pt x="0" y="217"/>
                  <a:pt x="0" y="213"/>
                  <a:pt x="0" y="210"/>
                </a:cubicBezTo>
                <a:cubicBezTo>
                  <a:pt x="0" y="208"/>
                  <a:pt x="0" y="207"/>
                  <a:pt x="0" y="205"/>
                </a:cubicBezTo>
                <a:cubicBezTo>
                  <a:pt x="0" y="202"/>
                  <a:pt x="0" y="198"/>
                  <a:pt x="1" y="195"/>
                </a:cubicBezTo>
                <a:cubicBezTo>
                  <a:pt x="1" y="193"/>
                  <a:pt x="1" y="192"/>
                  <a:pt x="1" y="191"/>
                </a:cubicBezTo>
                <a:cubicBezTo>
                  <a:pt x="2" y="181"/>
                  <a:pt x="2" y="172"/>
                  <a:pt x="4" y="162"/>
                </a:cubicBezTo>
                <a:cubicBezTo>
                  <a:pt x="4" y="161"/>
                  <a:pt x="4" y="160"/>
                  <a:pt x="4" y="159"/>
                </a:cubicBezTo>
                <a:cubicBezTo>
                  <a:pt x="4" y="155"/>
                  <a:pt x="5" y="152"/>
                  <a:pt x="6" y="148"/>
                </a:cubicBezTo>
                <a:cubicBezTo>
                  <a:pt x="6" y="147"/>
                  <a:pt x="6" y="145"/>
                  <a:pt x="6" y="144"/>
                </a:cubicBezTo>
                <a:cubicBezTo>
                  <a:pt x="7" y="140"/>
                  <a:pt x="7" y="137"/>
                  <a:pt x="8" y="133"/>
                </a:cubicBezTo>
                <a:cubicBezTo>
                  <a:pt x="8" y="132"/>
                  <a:pt x="8" y="131"/>
                  <a:pt x="9" y="130"/>
                </a:cubicBezTo>
                <a:cubicBezTo>
                  <a:pt x="10" y="120"/>
                  <a:pt x="12" y="111"/>
                  <a:pt x="15" y="102"/>
                </a:cubicBezTo>
                <a:cubicBezTo>
                  <a:pt x="15" y="101"/>
                  <a:pt x="15" y="100"/>
                  <a:pt x="15" y="99"/>
                </a:cubicBezTo>
                <a:cubicBezTo>
                  <a:pt x="16" y="95"/>
                  <a:pt x="17" y="92"/>
                  <a:pt x="18" y="88"/>
                </a:cubicBezTo>
                <a:cubicBezTo>
                  <a:pt x="19" y="87"/>
                  <a:pt x="19" y="85"/>
                  <a:pt x="19" y="84"/>
                </a:cubicBezTo>
                <a:cubicBezTo>
                  <a:pt x="20" y="81"/>
                  <a:pt x="21" y="77"/>
                  <a:pt x="22" y="74"/>
                </a:cubicBezTo>
                <a:cubicBezTo>
                  <a:pt x="23" y="73"/>
                  <a:pt x="23" y="71"/>
                  <a:pt x="24" y="70"/>
                </a:cubicBezTo>
                <a:cubicBezTo>
                  <a:pt x="26" y="61"/>
                  <a:pt x="30" y="52"/>
                  <a:pt x="33" y="43"/>
                </a:cubicBezTo>
                <a:cubicBezTo>
                  <a:pt x="33" y="42"/>
                  <a:pt x="34" y="41"/>
                  <a:pt x="34" y="41"/>
                </a:cubicBezTo>
                <a:cubicBezTo>
                  <a:pt x="35" y="37"/>
                  <a:pt x="37" y="33"/>
                  <a:pt x="38" y="30"/>
                </a:cubicBezTo>
                <a:cubicBezTo>
                  <a:pt x="39" y="29"/>
                  <a:pt x="39" y="27"/>
                  <a:pt x="40" y="26"/>
                </a:cubicBezTo>
                <a:cubicBezTo>
                  <a:pt x="41" y="23"/>
                  <a:pt x="43" y="20"/>
                  <a:pt x="44" y="16"/>
                </a:cubicBezTo>
                <a:cubicBezTo>
                  <a:pt x="44" y="15"/>
                  <a:pt x="45" y="14"/>
                  <a:pt x="45" y="13"/>
                </a:cubicBezTo>
                <a:cubicBezTo>
                  <a:pt x="47" y="9"/>
                  <a:pt x="49" y="4"/>
                  <a:pt x="51" y="0"/>
                </a:cubicBezTo>
                <a:cubicBezTo>
                  <a:pt x="51" y="0"/>
                  <a:pt x="51" y="0"/>
                  <a:pt x="51" y="0"/>
                </a:cubicBezTo>
                <a:cubicBezTo>
                  <a:pt x="51" y="0"/>
                  <a:pt x="99" y="93"/>
                  <a:pt x="125" y="84"/>
                </a:cubicBezTo>
                <a:cubicBezTo>
                  <a:pt x="151" y="75"/>
                  <a:pt x="195" y="36"/>
                  <a:pt x="239" y="79"/>
                </a:cubicBezTo>
                <a:cubicBezTo>
                  <a:pt x="284" y="121"/>
                  <a:pt x="295" y="83"/>
                  <a:pt x="339" y="99"/>
                </a:cubicBezTo>
                <a:cubicBezTo>
                  <a:pt x="382" y="114"/>
                  <a:pt x="443" y="123"/>
                  <a:pt x="426" y="217"/>
                </a:cubicBezTo>
                <a:cubicBezTo>
                  <a:pt x="409" y="312"/>
                  <a:pt x="340" y="280"/>
                  <a:pt x="336" y="310"/>
                </a:cubicBezTo>
                <a:cubicBezTo>
                  <a:pt x="331" y="341"/>
                  <a:pt x="389" y="366"/>
                  <a:pt x="377" y="436"/>
                </a:cubicBezTo>
                <a:cubicBezTo>
                  <a:pt x="364" y="507"/>
                  <a:pt x="313" y="504"/>
                  <a:pt x="314" y="556"/>
                </a:cubicBezTo>
                <a:cubicBezTo>
                  <a:pt x="316" y="607"/>
                  <a:pt x="296" y="622"/>
                  <a:pt x="343" y="660"/>
                </a:cubicBezTo>
                <a:cubicBezTo>
                  <a:pt x="374" y="685"/>
                  <a:pt x="401" y="706"/>
                  <a:pt x="418" y="728"/>
                </a:cubicBezTo>
                <a:cubicBezTo>
                  <a:pt x="400" y="725"/>
                  <a:pt x="383" y="720"/>
                  <a:pt x="365" y="715"/>
                </a:cubicBezTo>
                <a:cubicBezTo>
                  <a:pt x="365" y="715"/>
                  <a:pt x="365" y="715"/>
                  <a:pt x="365" y="715"/>
                </a:cubicBezTo>
                <a:cubicBezTo>
                  <a:pt x="361" y="714"/>
                  <a:pt x="357" y="713"/>
                  <a:pt x="353" y="711"/>
                </a:cubicBezTo>
                <a:cubicBezTo>
                  <a:pt x="352" y="711"/>
                  <a:pt x="352" y="711"/>
                  <a:pt x="352" y="711"/>
                </a:cubicBezTo>
                <a:cubicBezTo>
                  <a:pt x="348" y="710"/>
                  <a:pt x="344" y="708"/>
                  <a:pt x="341" y="707"/>
                </a:cubicBezTo>
                <a:cubicBezTo>
                  <a:pt x="340" y="707"/>
                  <a:pt x="339" y="706"/>
                  <a:pt x="338" y="706"/>
                </a:cubicBezTo>
                <a:cubicBezTo>
                  <a:pt x="335" y="705"/>
                  <a:pt x="332" y="704"/>
                  <a:pt x="328" y="702"/>
                </a:cubicBezTo>
                <a:cubicBezTo>
                  <a:pt x="327" y="702"/>
                  <a:pt x="327" y="702"/>
                  <a:pt x="326" y="702"/>
                </a:cubicBezTo>
                <a:cubicBezTo>
                  <a:pt x="323" y="700"/>
                  <a:pt x="319" y="699"/>
                  <a:pt x="316" y="697"/>
                </a:cubicBezTo>
                <a:cubicBezTo>
                  <a:pt x="315" y="697"/>
                  <a:pt x="314" y="697"/>
                  <a:pt x="314" y="697"/>
                </a:cubicBezTo>
                <a:cubicBezTo>
                  <a:pt x="310" y="695"/>
                  <a:pt x="307" y="694"/>
                  <a:pt x="303" y="692"/>
                </a:cubicBezTo>
                <a:cubicBezTo>
                  <a:pt x="303" y="692"/>
                  <a:pt x="302" y="692"/>
                  <a:pt x="301" y="691"/>
                </a:cubicBezTo>
                <a:cubicBezTo>
                  <a:pt x="298" y="690"/>
                  <a:pt x="294" y="688"/>
                  <a:pt x="291" y="686"/>
                </a:cubicBezTo>
                <a:cubicBezTo>
                  <a:pt x="290" y="686"/>
                  <a:pt x="290" y="686"/>
                  <a:pt x="289" y="686"/>
                </a:cubicBezTo>
                <a:cubicBezTo>
                  <a:pt x="273" y="678"/>
                  <a:pt x="258" y="669"/>
                  <a:pt x="243" y="660"/>
                </a:cubicBezTo>
                <a:cubicBezTo>
                  <a:pt x="242" y="660"/>
                  <a:pt x="241" y="659"/>
                  <a:pt x="240" y="659"/>
                </a:cubicBezTo>
                <a:cubicBezTo>
                  <a:pt x="237" y="657"/>
                  <a:pt x="234" y="655"/>
                  <a:pt x="231" y="653"/>
                </a:cubicBezTo>
                <a:cubicBezTo>
                  <a:pt x="231" y="652"/>
                  <a:pt x="230" y="652"/>
                  <a:pt x="229" y="651"/>
                </a:cubicBezTo>
                <a:cubicBezTo>
                  <a:pt x="226" y="649"/>
                  <a:pt x="223" y="647"/>
                  <a:pt x="221" y="646"/>
                </a:cubicBezTo>
                <a:cubicBezTo>
                  <a:pt x="219" y="645"/>
                  <a:pt x="218" y="644"/>
                  <a:pt x="217" y="643"/>
                </a:cubicBezTo>
                <a:cubicBezTo>
                  <a:pt x="215" y="642"/>
                  <a:pt x="212" y="640"/>
                  <a:pt x="210" y="638"/>
                </a:cubicBezTo>
                <a:cubicBezTo>
                  <a:pt x="209" y="637"/>
                  <a:pt x="208" y="636"/>
                  <a:pt x="206" y="635"/>
                </a:cubicBezTo>
                <a:cubicBezTo>
                  <a:pt x="204" y="634"/>
                  <a:pt x="202" y="632"/>
                  <a:pt x="199" y="630"/>
                </a:cubicBezTo>
                <a:cubicBezTo>
                  <a:pt x="198" y="629"/>
                  <a:pt x="197" y="628"/>
                  <a:pt x="196" y="627"/>
                </a:cubicBezTo>
                <a:cubicBezTo>
                  <a:pt x="193" y="625"/>
                  <a:pt x="191" y="624"/>
                  <a:pt x="189" y="622"/>
                </a:cubicBezTo>
                <a:cubicBezTo>
                  <a:pt x="188" y="621"/>
                  <a:pt x="186" y="620"/>
                  <a:pt x="185" y="619"/>
                </a:cubicBezTo>
                <a:cubicBezTo>
                  <a:pt x="183" y="617"/>
                  <a:pt x="181" y="615"/>
                  <a:pt x="178" y="613"/>
                </a:cubicBezTo>
                <a:cubicBezTo>
                  <a:pt x="177" y="612"/>
                  <a:pt x="176" y="611"/>
                  <a:pt x="175" y="610"/>
                </a:cubicBezTo>
                <a:cubicBezTo>
                  <a:pt x="173" y="608"/>
                  <a:pt x="170" y="606"/>
                  <a:pt x="167" y="603"/>
                </a:cubicBezTo>
                <a:cubicBezTo>
                  <a:pt x="167" y="603"/>
                  <a:pt x="166" y="602"/>
                  <a:pt x="165" y="601"/>
                </a:cubicBezTo>
                <a:cubicBezTo>
                  <a:pt x="159" y="595"/>
                  <a:pt x="152" y="589"/>
                  <a:pt x="146" y="583"/>
                </a:cubicBezTo>
                <a:cubicBezTo>
                  <a:pt x="145" y="582"/>
                  <a:pt x="144" y="581"/>
                  <a:pt x="144" y="580"/>
                </a:cubicBezTo>
                <a:cubicBezTo>
                  <a:pt x="141" y="578"/>
                  <a:pt x="139" y="575"/>
                  <a:pt x="137" y="573"/>
                </a:cubicBezTo>
                <a:cubicBezTo>
                  <a:pt x="136" y="572"/>
                  <a:pt x="135" y="571"/>
                  <a:pt x="134" y="570"/>
                </a:cubicBezTo>
                <a:cubicBezTo>
                  <a:pt x="132" y="567"/>
                  <a:pt x="130" y="565"/>
                  <a:pt x="128" y="563"/>
                </a:cubicBezTo>
                <a:cubicBezTo>
                  <a:pt x="127" y="562"/>
                  <a:pt x="125" y="560"/>
                  <a:pt x="124" y="559"/>
                </a:cubicBezTo>
                <a:cubicBezTo>
                  <a:pt x="123" y="557"/>
                  <a:pt x="121" y="555"/>
                  <a:pt x="119" y="553"/>
                </a:cubicBezTo>
                <a:cubicBezTo>
                  <a:pt x="118" y="551"/>
                  <a:pt x="117" y="550"/>
                  <a:pt x="115" y="548"/>
                </a:cubicBezTo>
                <a:cubicBezTo>
                  <a:pt x="114" y="546"/>
                  <a:pt x="112" y="544"/>
                  <a:pt x="110" y="542"/>
                </a:cubicBezTo>
                <a:cubicBezTo>
                  <a:pt x="109" y="541"/>
                  <a:pt x="108" y="539"/>
                  <a:pt x="107" y="538"/>
                </a:cubicBezTo>
                <a:cubicBezTo>
                  <a:pt x="105" y="536"/>
                  <a:pt x="104" y="533"/>
                  <a:pt x="102" y="531"/>
                </a:cubicBezTo>
                <a:cubicBezTo>
                  <a:pt x="101" y="530"/>
                  <a:pt x="100" y="528"/>
                  <a:pt x="99" y="527"/>
                </a:cubicBezTo>
                <a:cubicBezTo>
                  <a:pt x="97" y="525"/>
                  <a:pt x="96" y="522"/>
                  <a:pt x="94" y="520"/>
                </a:cubicBezTo>
                <a:cubicBezTo>
                  <a:pt x="93" y="519"/>
                  <a:pt x="92" y="517"/>
                  <a:pt x="91" y="516"/>
                </a:cubicBezTo>
                <a:cubicBezTo>
                  <a:pt x="89" y="513"/>
                  <a:pt x="88" y="511"/>
                  <a:pt x="86" y="509"/>
                </a:cubicBezTo>
                <a:cubicBezTo>
                  <a:pt x="85" y="507"/>
                  <a:pt x="84" y="506"/>
                  <a:pt x="83" y="504"/>
                </a:cubicBezTo>
                <a:cubicBezTo>
                  <a:pt x="81" y="502"/>
                  <a:pt x="80" y="499"/>
                  <a:pt x="78" y="496"/>
                </a:cubicBezTo>
                <a:cubicBezTo>
                  <a:pt x="77" y="495"/>
                  <a:pt x="76" y="494"/>
                  <a:pt x="76" y="492"/>
                </a:cubicBezTo>
                <a:cubicBezTo>
                  <a:pt x="73" y="488"/>
                  <a:pt x="71" y="484"/>
                  <a:pt x="68" y="480"/>
                </a:cubicBezTo>
                <a:cubicBezTo>
                  <a:pt x="66" y="476"/>
                  <a:pt x="64" y="472"/>
                  <a:pt x="61" y="467"/>
                </a:cubicBezTo>
                <a:cubicBezTo>
                  <a:pt x="60" y="466"/>
                  <a:pt x="60" y="464"/>
                  <a:pt x="59" y="46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 name="Freeform 45"/>
          <p:cNvSpPr>
            <a:spLocks/>
          </p:cNvSpPr>
          <p:nvPr userDrawn="1"/>
        </p:nvSpPr>
        <p:spPr bwMode="auto">
          <a:xfrm flipH="1">
            <a:off x="2971801" y="2692400"/>
            <a:ext cx="663575" cy="1031875"/>
          </a:xfrm>
          <a:custGeom>
            <a:avLst/>
            <a:gdLst>
              <a:gd name="T0" fmla="*/ 54 w 418"/>
              <a:gd name="T1" fmla="*/ 376 h 650"/>
              <a:gd name="T2" fmla="*/ 47 w 418"/>
              <a:gd name="T3" fmla="*/ 362 h 650"/>
              <a:gd name="T4" fmla="*/ 39 w 418"/>
              <a:gd name="T5" fmla="*/ 343 h 650"/>
              <a:gd name="T6" fmla="*/ 29 w 418"/>
              <a:gd name="T7" fmla="*/ 316 h 650"/>
              <a:gd name="T8" fmla="*/ 24 w 418"/>
              <a:gd name="T9" fmla="*/ 302 h 650"/>
              <a:gd name="T10" fmla="*/ 19 w 418"/>
              <a:gd name="T11" fmla="*/ 287 h 650"/>
              <a:gd name="T12" fmla="*/ 15 w 418"/>
              <a:gd name="T13" fmla="*/ 268 h 650"/>
              <a:gd name="T14" fmla="*/ 11 w 418"/>
              <a:gd name="T15" fmla="*/ 251 h 650"/>
              <a:gd name="T16" fmla="*/ 8 w 418"/>
              <a:gd name="T17" fmla="*/ 238 h 650"/>
              <a:gd name="T18" fmla="*/ 5 w 418"/>
              <a:gd name="T19" fmla="*/ 219 h 650"/>
              <a:gd name="T20" fmla="*/ 3 w 418"/>
              <a:gd name="T21" fmla="*/ 204 h 650"/>
              <a:gd name="T22" fmla="*/ 2 w 418"/>
              <a:gd name="T23" fmla="*/ 189 h 650"/>
              <a:gd name="T24" fmla="*/ 0 w 418"/>
              <a:gd name="T25" fmla="*/ 171 h 650"/>
              <a:gd name="T26" fmla="*/ 0 w 418"/>
              <a:gd name="T27" fmla="*/ 148 h 650"/>
              <a:gd name="T28" fmla="*/ 0 w 418"/>
              <a:gd name="T29" fmla="*/ 127 h 650"/>
              <a:gd name="T30" fmla="*/ 1 w 418"/>
              <a:gd name="T31" fmla="*/ 113 h 650"/>
              <a:gd name="T32" fmla="*/ 3 w 418"/>
              <a:gd name="T33" fmla="*/ 86 h 650"/>
              <a:gd name="T34" fmla="*/ 6 w 418"/>
              <a:gd name="T35" fmla="*/ 65 h 650"/>
              <a:gd name="T36" fmla="*/ 11 w 418"/>
              <a:gd name="T37" fmla="*/ 40 h 650"/>
              <a:gd name="T38" fmla="*/ 16 w 418"/>
              <a:gd name="T39" fmla="*/ 18 h 650"/>
              <a:gd name="T40" fmla="*/ 21 w 418"/>
              <a:gd name="T41" fmla="*/ 0 h 650"/>
              <a:gd name="T42" fmla="*/ 314 w 418"/>
              <a:gd name="T43" fmla="*/ 478 h 650"/>
              <a:gd name="T44" fmla="*/ 366 w 418"/>
              <a:gd name="T45" fmla="*/ 637 h 650"/>
              <a:gd name="T46" fmla="*/ 353 w 418"/>
              <a:gd name="T47" fmla="*/ 633 h 650"/>
              <a:gd name="T48" fmla="*/ 338 w 418"/>
              <a:gd name="T49" fmla="*/ 628 h 650"/>
              <a:gd name="T50" fmla="*/ 316 w 418"/>
              <a:gd name="T51" fmla="*/ 619 h 650"/>
              <a:gd name="T52" fmla="*/ 303 w 418"/>
              <a:gd name="T53" fmla="*/ 614 h 650"/>
              <a:gd name="T54" fmla="*/ 291 w 418"/>
              <a:gd name="T55" fmla="*/ 608 h 650"/>
              <a:gd name="T56" fmla="*/ 242 w 418"/>
              <a:gd name="T57" fmla="*/ 581 h 650"/>
              <a:gd name="T58" fmla="*/ 229 w 418"/>
              <a:gd name="T59" fmla="*/ 573 h 650"/>
              <a:gd name="T60" fmla="*/ 217 w 418"/>
              <a:gd name="T61" fmla="*/ 565 h 650"/>
              <a:gd name="T62" fmla="*/ 199 w 418"/>
              <a:gd name="T63" fmla="*/ 552 h 650"/>
              <a:gd name="T64" fmla="*/ 186 w 418"/>
              <a:gd name="T65" fmla="*/ 542 h 650"/>
              <a:gd name="T66" fmla="*/ 175 w 418"/>
              <a:gd name="T67" fmla="*/ 532 h 650"/>
              <a:gd name="T68" fmla="*/ 146 w 418"/>
              <a:gd name="T69" fmla="*/ 505 h 650"/>
              <a:gd name="T70" fmla="*/ 135 w 418"/>
              <a:gd name="T71" fmla="*/ 493 h 650"/>
              <a:gd name="T72" fmla="*/ 124 w 418"/>
              <a:gd name="T73" fmla="*/ 481 h 650"/>
              <a:gd name="T74" fmla="*/ 110 w 418"/>
              <a:gd name="T75" fmla="*/ 464 h 650"/>
              <a:gd name="T76" fmla="*/ 99 w 418"/>
              <a:gd name="T77" fmla="*/ 449 h 650"/>
              <a:gd name="T78" fmla="*/ 91 w 418"/>
              <a:gd name="T79" fmla="*/ 438 h 650"/>
              <a:gd name="T80" fmla="*/ 83 w 418"/>
              <a:gd name="T81" fmla="*/ 426 h 650"/>
              <a:gd name="T82" fmla="*/ 68 w 418"/>
              <a:gd name="T83" fmla="*/ 402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650">
                <a:moveTo>
                  <a:pt x="60" y="387"/>
                </a:moveTo>
                <a:cubicBezTo>
                  <a:pt x="60" y="386"/>
                  <a:pt x="59" y="385"/>
                  <a:pt x="59" y="385"/>
                </a:cubicBezTo>
                <a:cubicBezTo>
                  <a:pt x="57" y="382"/>
                  <a:pt x="56" y="379"/>
                  <a:pt x="54" y="376"/>
                </a:cubicBezTo>
                <a:cubicBezTo>
                  <a:pt x="54" y="375"/>
                  <a:pt x="54" y="375"/>
                  <a:pt x="53" y="374"/>
                </a:cubicBezTo>
                <a:cubicBezTo>
                  <a:pt x="53" y="373"/>
                  <a:pt x="52" y="372"/>
                  <a:pt x="52" y="371"/>
                </a:cubicBezTo>
                <a:cubicBezTo>
                  <a:pt x="50" y="368"/>
                  <a:pt x="49" y="365"/>
                  <a:pt x="47" y="362"/>
                </a:cubicBezTo>
                <a:cubicBezTo>
                  <a:pt x="47" y="360"/>
                  <a:pt x="46" y="358"/>
                  <a:pt x="45" y="357"/>
                </a:cubicBezTo>
                <a:cubicBezTo>
                  <a:pt x="44" y="354"/>
                  <a:pt x="42" y="350"/>
                  <a:pt x="41" y="347"/>
                </a:cubicBezTo>
                <a:cubicBezTo>
                  <a:pt x="40" y="346"/>
                  <a:pt x="40" y="344"/>
                  <a:pt x="39" y="343"/>
                </a:cubicBezTo>
                <a:cubicBezTo>
                  <a:pt x="37" y="339"/>
                  <a:pt x="36" y="334"/>
                  <a:pt x="34" y="330"/>
                </a:cubicBezTo>
                <a:cubicBezTo>
                  <a:pt x="33" y="329"/>
                  <a:pt x="33" y="327"/>
                  <a:pt x="32" y="326"/>
                </a:cubicBezTo>
                <a:cubicBezTo>
                  <a:pt x="31" y="323"/>
                  <a:pt x="30" y="320"/>
                  <a:pt x="29" y="316"/>
                </a:cubicBezTo>
                <a:cubicBezTo>
                  <a:pt x="28" y="315"/>
                  <a:pt x="28" y="314"/>
                  <a:pt x="28" y="313"/>
                </a:cubicBezTo>
                <a:cubicBezTo>
                  <a:pt x="27" y="312"/>
                  <a:pt x="27" y="311"/>
                  <a:pt x="27" y="310"/>
                </a:cubicBezTo>
                <a:cubicBezTo>
                  <a:pt x="26" y="308"/>
                  <a:pt x="25" y="305"/>
                  <a:pt x="24" y="302"/>
                </a:cubicBezTo>
                <a:cubicBezTo>
                  <a:pt x="24" y="301"/>
                  <a:pt x="24" y="301"/>
                  <a:pt x="24" y="301"/>
                </a:cubicBezTo>
                <a:cubicBezTo>
                  <a:pt x="23" y="299"/>
                  <a:pt x="23" y="297"/>
                  <a:pt x="22" y="296"/>
                </a:cubicBezTo>
                <a:cubicBezTo>
                  <a:pt x="21" y="293"/>
                  <a:pt x="20" y="290"/>
                  <a:pt x="19" y="287"/>
                </a:cubicBezTo>
                <a:cubicBezTo>
                  <a:pt x="19" y="285"/>
                  <a:pt x="18" y="283"/>
                  <a:pt x="18" y="282"/>
                </a:cubicBezTo>
                <a:cubicBezTo>
                  <a:pt x="17" y="278"/>
                  <a:pt x="16" y="275"/>
                  <a:pt x="15" y="272"/>
                </a:cubicBezTo>
                <a:cubicBezTo>
                  <a:pt x="15" y="271"/>
                  <a:pt x="15" y="270"/>
                  <a:pt x="15" y="268"/>
                </a:cubicBezTo>
                <a:cubicBezTo>
                  <a:pt x="14" y="267"/>
                  <a:pt x="14" y="266"/>
                  <a:pt x="14" y="265"/>
                </a:cubicBezTo>
                <a:cubicBezTo>
                  <a:pt x="13" y="262"/>
                  <a:pt x="12" y="259"/>
                  <a:pt x="11" y="255"/>
                </a:cubicBezTo>
                <a:cubicBezTo>
                  <a:pt x="11" y="254"/>
                  <a:pt x="11" y="252"/>
                  <a:pt x="11" y="251"/>
                </a:cubicBezTo>
                <a:cubicBezTo>
                  <a:pt x="10" y="250"/>
                  <a:pt x="10" y="250"/>
                  <a:pt x="10" y="250"/>
                </a:cubicBezTo>
                <a:cubicBezTo>
                  <a:pt x="10" y="247"/>
                  <a:pt x="9" y="244"/>
                  <a:pt x="8" y="241"/>
                </a:cubicBezTo>
                <a:cubicBezTo>
                  <a:pt x="8" y="240"/>
                  <a:pt x="8" y="239"/>
                  <a:pt x="8" y="238"/>
                </a:cubicBezTo>
                <a:cubicBezTo>
                  <a:pt x="8" y="237"/>
                  <a:pt x="8" y="235"/>
                  <a:pt x="7" y="234"/>
                </a:cubicBezTo>
                <a:cubicBezTo>
                  <a:pt x="7" y="231"/>
                  <a:pt x="6" y="228"/>
                  <a:pt x="6" y="225"/>
                </a:cubicBezTo>
                <a:cubicBezTo>
                  <a:pt x="6" y="223"/>
                  <a:pt x="5" y="221"/>
                  <a:pt x="5" y="219"/>
                </a:cubicBezTo>
                <a:cubicBezTo>
                  <a:pt x="5" y="216"/>
                  <a:pt x="4" y="213"/>
                  <a:pt x="4" y="210"/>
                </a:cubicBezTo>
                <a:cubicBezTo>
                  <a:pt x="4" y="209"/>
                  <a:pt x="3" y="207"/>
                  <a:pt x="3" y="205"/>
                </a:cubicBezTo>
                <a:cubicBezTo>
                  <a:pt x="3" y="205"/>
                  <a:pt x="3" y="204"/>
                  <a:pt x="3" y="204"/>
                </a:cubicBezTo>
                <a:cubicBezTo>
                  <a:pt x="3" y="201"/>
                  <a:pt x="2" y="198"/>
                  <a:pt x="2" y="195"/>
                </a:cubicBezTo>
                <a:cubicBezTo>
                  <a:pt x="2" y="194"/>
                  <a:pt x="2" y="193"/>
                  <a:pt x="2" y="192"/>
                </a:cubicBezTo>
                <a:cubicBezTo>
                  <a:pt x="2" y="191"/>
                  <a:pt x="2" y="190"/>
                  <a:pt x="2" y="189"/>
                </a:cubicBezTo>
                <a:cubicBezTo>
                  <a:pt x="1" y="185"/>
                  <a:pt x="1" y="182"/>
                  <a:pt x="1" y="179"/>
                </a:cubicBezTo>
                <a:cubicBezTo>
                  <a:pt x="1" y="177"/>
                  <a:pt x="1" y="176"/>
                  <a:pt x="1" y="175"/>
                </a:cubicBezTo>
                <a:cubicBezTo>
                  <a:pt x="1" y="174"/>
                  <a:pt x="0" y="173"/>
                  <a:pt x="0" y="171"/>
                </a:cubicBezTo>
                <a:cubicBezTo>
                  <a:pt x="0" y="168"/>
                  <a:pt x="0" y="165"/>
                  <a:pt x="0" y="162"/>
                </a:cubicBezTo>
                <a:cubicBezTo>
                  <a:pt x="0" y="160"/>
                  <a:pt x="0" y="158"/>
                  <a:pt x="0" y="156"/>
                </a:cubicBezTo>
                <a:cubicBezTo>
                  <a:pt x="0" y="153"/>
                  <a:pt x="0" y="151"/>
                  <a:pt x="0" y="148"/>
                </a:cubicBezTo>
                <a:cubicBezTo>
                  <a:pt x="0" y="146"/>
                  <a:pt x="0" y="144"/>
                  <a:pt x="0" y="141"/>
                </a:cubicBezTo>
                <a:cubicBezTo>
                  <a:pt x="0" y="139"/>
                  <a:pt x="0" y="136"/>
                  <a:pt x="0" y="134"/>
                </a:cubicBezTo>
                <a:cubicBezTo>
                  <a:pt x="0" y="131"/>
                  <a:pt x="0" y="129"/>
                  <a:pt x="0" y="127"/>
                </a:cubicBezTo>
                <a:cubicBezTo>
                  <a:pt x="0" y="124"/>
                  <a:pt x="0" y="122"/>
                  <a:pt x="1" y="119"/>
                </a:cubicBezTo>
                <a:cubicBezTo>
                  <a:pt x="1" y="117"/>
                  <a:pt x="1" y="115"/>
                  <a:pt x="1" y="114"/>
                </a:cubicBezTo>
                <a:cubicBezTo>
                  <a:pt x="1" y="113"/>
                  <a:pt x="1" y="113"/>
                  <a:pt x="1" y="113"/>
                </a:cubicBezTo>
                <a:cubicBezTo>
                  <a:pt x="1" y="108"/>
                  <a:pt x="2" y="104"/>
                  <a:pt x="2" y="99"/>
                </a:cubicBezTo>
                <a:cubicBezTo>
                  <a:pt x="2" y="98"/>
                  <a:pt x="2" y="97"/>
                  <a:pt x="2" y="96"/>
                </a:cubicBezTo>
                <a:cubicBezTo>
                  <a:pt x="3" y="92"/>
                  <a:pt x="3" y="89"/>
                  <a:pt x="3" y="86"/>
                </a:cubicBezTo>
                <a:cubicBezTo>
                  <a:pt x="4" y="83"/>
                  <a:pt x="4" y="81"/>
                  <a:pt x="4" y="79"/>
                </a:cubicBezTo>
                <a:cubicBezTo>
                  <a:pt x="5" y="76"/>
                  <a:pt x="5" y="74"/>
                  <a:pt x="5" y="72"/>
                </a:cubicBezTo>
                <a:cubicBezTo>
                  <a:pt x="6" y="69"/>
                  <a:pt x="6" y="67"/>
                  <a:pt x="6" y="65"/>
                </a:cubicBezTo>
                <a:cubicBezTo>
                  <a:pt x="7" y="62"/>
                  <a:pt x="7" y="60"/>
                  <a:pt x="8" y="57"/>
                </a:cubicBezTo>
                <a:cubicBezTo>
                  <a:pt x="8" y="55"/>
                  <a:pt x="8" y="53"/>
                  <a:pt x="9" y="51"/>
                </a:cubicBezTo>
                <a:cubicBezTo>
                  <a:pt x="9" y="47"/>
                  <a:pt x="10" y="44"/>
                  <a:pt x="11" y="40"/>
                </a:cubicBezTo>
                <a:cubicBezTo>
                  <a:pt x="11" y="39"/>
                  <a:pt x="11" y="38"/>
                  <a:pt x="12" y="37"/>
                </a:cubicBezTo>
                <a:cubicBezTo>
                  <a:pt x="13" y="33"/>
                  <a:pt x="14" y="29"/>
                  <a:pt x="15" y="24"/>
                </a:cubicBezTo>
                <a:cubicBezTo>
                  <a:pt x="15" y="22"/>
                  <a:pt x="16" y="20"/>
                  <a:pt x="16" y="18"/>
                </a:cubicBezTo>
                <a:cubicBezTo>
                  <a:pt x="17" y="16"/>
                  <a:pt x="17" y="13"/>
                  <a:pt x="18" y="10"/>
                </a:cubicBezTo>
                <a:cubicBezTo>
                  <a:pt x="19" y="8"/>
                  <a:pt x="19" y="6"/>
                  <a:pt x="20" y="4"/>
                </a:cubicBezTo>
                <a:cubicBezTo>
                  <a:pt x="20" y="3"/>
                  <a:pt x="21" y="1"/>
                  <a:pt x="21" y="0"/>
                </a:cubicBezTo>
                <a:cubicBezTo>
                  <a:pt x="23" y="82"/>
                  <a:pt x="46" y="165"/>
                  <a:pt x="90" y="242"/>
                </a:cubicBezTo>
                <a:cubicBezTo>
                  <a:pt x="145" y="338"/>
                  <a:pt x="226" y="409"/>
                  <a:pt x="320" y="451"/>
                </a:cubicBezTo>
                <a:cubicBezTo>
                  <a:pt x="316" y="459"/>
                  <a:pt x="314" y="467"/>
                  <a:pt x="314" y="478"/>
                </a:cubicBezTo>
                <a:cubicBezTo>
                  <a:pt x="316" y="529"/>
                  <a:pt x="296" y="544"/>
                  <a:pt x="343" y="582"/>
                </a:cubicBezTo>
                <a:cubicBezTo>
                  <a:pt x="374" y="607"/>
                  <a:pt x="401" y="628"/>
                  <a:pt x="418" y="650"/>
                </a:cubicBezTo>
                <a:cubicBezTo>
                  <a:pt x="400" y="647"/>
                  <a:pt x="383" y="642"/>
                  <a:pt x="366" y="637"/>
                </a:cubicBezTo>
                <a:cubicBezTo>
                  <a:pt x="365" y="637"/>
                  <a:pt x="365" y="637"/>
                  <a:pt x="365" y="637"/>
                </a:cubicBezTo>
                <a:cubicBezTo>
                  <a:pt x="365" y="637"/>
                  <a:pt x="365" y="637"/>
                  <a:pt x="365" y="637"/>
                </a:cubicBezTo>
                <a:cubicBezTo>
                  <a:pt x="361" y="636"/>
                  <a:pt x="357" y="635"/>
                  <a:pt x="353" y="633"/>
                </a:cubicBezTo>
                <a:cubicBezTo>
                  <a:pt x="353" y="633"/>
                  <a:pt x="352" y="633"/>
                  <a:pt x="352" y="633"/>
                </a:cubicBezTo>
                <a:cubicBezTo>
                  <a:pt x="348" y="632"/>
                  <a:pt x="344" y="630"/>
                  <a:pt x="341" y="629"/>
                </a:cubicBezTo>
                <a:cubicBezTo>
                  <a:pt x="340" y="629"/>
                  <a:pt x="339" y="628"/>
                  <a:pt x="338" y="628"/>
                </a:cubicBezTo>
                <a:cubicBezTo>
                  <a:pt x="335" y="627"/>
                  <a:pt x="332" y="626"/>
                  <a:pt x="328" y="624"/>
                </a:cubicBezTo>
                <a:cubicBezTo>
                  <a:pt x="327" y="624"/>
                  <a:pt x="327" y="624"/>
                  <a:pt x="326" y="624"/>
                </a:cubicBezTo>
                <a:cubicBezTo>
                  <a:pt x="323" y="622"/>
                  <a:pt x="319" y="621"/>
                  <a:pt x="316" y="619"/>
                </a:cubicBezTo>
                <a:cubicBezTo>
                  <a:pt x="316" y="619"/>
                  <a:pt x="315" y="619"/>
                  <a:pt x="315" y="619"/>
                </a:cubicBezTo>
                <a:cubicBezTo>
                  <a:pt x="314" y="619"/>
                  <a:pt x="314" y="619"/>
                  <a:pt x="314" y="619"/>
                </a:cubicBezTo>
                <a:cubicBezTo>
                  <a:pt x="310" y="617"/>
                  <a:pt x="307" y="616"/>
                  <a:pt x="303" y="614"/>
                </a:cubicBezTo>
                <a:cubicBezTo>
                  <a:pt x="303" y="614"/>
                  <a:pt x="302" y="614"/>
                  <a:pt x="302" y="613"/>
                </a:cubicBezTo>
                <a:cubicBezTo>
                  <a:pt x="301" y="613"/>
                  <a:pt x="301" y="613"/>
                  <a:pt x="301" y="613"/>
                </a:cubicBezTo>
                <a:cubicBezTo>
                  <a:pt x="298" y="612"/>
                  <a:pt x="294" y="610"/>
                  <a:pt x="291" y="608"/>
                </a:cubicBezTo>
                <a:cubicBezTo>
                  <a:pt x="290" y="608"/>
                  <a:pt x="290" y="608"/>
                  <a:pt x="289" y="608"/>
                </a:cubicBezTo>
                <a:cubicBezTo>
                  <a:pt x="273" y="600"/>
                  <a:pt x="258" y="591"/>
                  <a:pt x="243" y="582"/>
                </a:cubicBezTo>
                <a:cubicBezTo>
                  <a:pt x="242" y="581"/>
                  <a:pt x="242" y="581"/>
                  <a:pt x="242" y="581"/>
                </a:cubicBezTo>
                <a:cubicBezTo>
                  <a:pt x="241" y="581"/>
                  <a:pt x="241" y="581"/>
                  <a:pt x="240" y="581"/>
                </a:cubicBezTo>
                <a:cubicBezTo>
                  <a:pt x="237" y="579"/>
                  <a:pt x="234" y="577"/>
                  <a:pt x="231" y="575"/>
                </a:cubicBezTo>
                <a:cubicBezTo>
                  <a:pt x="231" y="574"/>
                  <a:pt x="230" y="574"/>
                  <a:pt x="229" y="573"/>
                </a:cubicBezTo>
                <a:cubicBezTo>
                  <a:pt x="226" y="571"/>
                  <a:pt x="223" y="569"/>
                  <a:pt x="221" y="568"/>
                </a:cubicBezTo>
                <a:cubicBezTo>
                  <a:pt x="220" y="567"/>
                  <a:pt x="220" y="567"/>
                  <a:pt x="220" y="567"/>
                </a:cubicBezTo>
                <a:cubicBezTo>
                  <a:pt x="219" y="567"/>
                  <a:pt x="218" y="566"/>
                  <a:pt x="217" y="565"/>
                </a:cubicBezTo>
                <a:cubicBezTo>
                  <a:pt x="215" y="564"/>
                  <a:pt x="212" y="562"/>
                  <a:pt x="210" y="560"/>
                </a:cubicBezTo>
                <a:cubicBezTo>
                  <a:pt x="209" y="559"/>
                  <a:pt x="208" y="558"/>
                  <a:pt x="206" y="557"/>
                </a:cubicBezTo>
                <a:cubicBezTo>
                  <a:pt x="204" y="556"/>
                  <a:pt x="202" y="554"/>
                  <a:pt x="199" y="552"/>
                </a:cubicBezTo>
                <a:cubicBezTo>
                  <a:pt x="198" y="551"/>
                  <a:pt x="197" y="550"/>
                  <a:pt x="196" y="549"/>
                </a:cubicBezTo>
                <a:cubicBezTo>
                  <a:pt x="193" y="547"/>
                  <a:pt x="191" y="546"/>
                  <a:pt x="189" y="544"/>
                </a:cubicBezTo>
                <a:cubicBezTo>
                  <a:pt x="188" y="543"/>
                  <a:pt x="187" y="542"/>
                  <a:pt x="186" y="542"/>
                </a:cubicBezTo>
                <a:cubicBezTo>
                  <a:pt x="185" y="541"/>
                  <a:pt x="185" y="541"/>
                  <a:pt x="185" y="541"/>
                </a:cubicBezTo>
                <a:cubicBezTo>
                  <a:pt x="183" y="539"/>
                  <a:pt x="181" y="537"/>
                  <a:pt x="178" y="535"/>
                </a:cubicBezTo>
                <a:cubicBezTo>
                  <a:pt x="177" y="534"/>
                  <a:pt x="176" y="533"/>
                  <a:pt x="175" y="532"/>
                </a:cubicBezTo>
                <a:cubicBezTo>
                  <a:pt x="173" y="530"/>
                  <a:pt x="170" y="528"/>
                  <a:pt x="167" y="525"/>
                </a:cubicBezTo>
                <a:cubicBezTo>
                  <a:pt x="167" y="525"/>
                  <a:pt x="166" y="524"/>
                  <a:pt x="165" y="523"/>
                </a:cubicBezTo>
                <a:cubicBezTo>
                  <a:pt x="159" y="517"/>
                  <a:pt x="152" y="511"/>
                  <a:pt x="146" y="505"/>
                </a:cubicBezTo>
                <a:cubicBezTo>
                  <a:pt x="145" y="504"/>
                  <a:pt x="144" y="503"/>
                  <a:pt x="144" y="502"/>
                </a:cubicBezTo>
                <a:cubicBezTo>
                  <a:pt x="141" y="500"/>
                  <a:pt x="139" y="497"/>
                  <a:pt x="137" y="495"/>
                </a:cubicBezTo>
                <a:cubicBezTo>
                  <a:pt x="136" y="494"/>
                  <a:pt x="136" y="494"/>
                  <a:pt x="135" y="493"/>
                </a:cubicBezTo>
                <a:cubicBezTo>
                  <a:pt x="135" y="493"/>
                  <a:pt x="134" y="492"/>
                  <a:pt x="134" y="491"/>
                </a:cubicBezTo>
                <a:cubicBezTo>
                  <a:pt x="132" y="489"/>
                  <a:pt x="130" y="487"/>
                  <a:pt x="128" y="485"/>
                </a:cubicBezTo>
                <a:cubicBezTo>
                  <a:pt x="127" y="484"/>
                  <a:pt x="125" y="482"/>
                  <a:pt x="124" y="481"/>
                </a:cubicBezTo>
                <a:cubicBezTo>
                  <a:pt x="122" y="479"/>
                  <a:pt x="121" y="477"/>
                  <a:pt x="119" y="475"/>
                </a:cubicBezTo>
                <a:cubicBezTo>
                  <a:pt x="118" y="473"/>
                  <a:pt x="117" y="472"/>
                  <a:pt x="115" y="470"/>
                </a:cubicBezTo>
                <a:cubicBezTo>
                  <a:pt x="114" y="468"/>
                  <a:pt x="112" y="466"/>
                  <a:pt x="110" y="464"/>
                </a:cubicBezTo>
                <a:cubicBezTo>
                  <a:pt x="109" y="463"/>
                  <a:pt x="108" y="461"/>
                  <a:pt x="107" y="460"/>
                </a:cubicBezTo>
                <a:cubicBezTo>
                  <a:pt x="105" y="458"/>
                  <a:pt x="104" y="455"/>
                  <a:pt x="102" y="453"/>
                </a:cubicBezTo>
                <a:cubicBezTo>
                  <a:pt x="101" y="452"/>
                  <a:pt x="100" y="450"/>
                  <a:pt x="99" y="449"/>
                </a:cubicBezTo>
                <a:cubicBezTo>
                  <a:pt x="97" y="447"/>
                  <a:pt x="96" y="444"/>
                  <a:pt x="94" y="442"/>
                </a:cubicBezTo>
                <a:cubicBezTo>
                  <a:pt x="93" y="441"/>
                  <a:pt x="92" y="439"/>
                  <a:pt x="91" y="438"/>
                </a:cubicBezTo>
                <a:cubicBezTo>
                  <a:pt x="91" y="438"/>
                  <a:pt x="91" y="438"/>
                  <a:pt x="91" y="438"/>
                </a:cubicBezTo>
                <a:cubicBezTo>
                  <a:pt x="89" y="435"/>
                  <a:pt x="88" y="433"/>
                  <a:pt x="86" y="431"/>
                </a:cubicBezTo>
                <a:cubicBezTo>
                  <a:pt x="85" y="430"/>
                  <a:pt x="85" y="429"/>
                  <a:pt x="84" y="428"/>
                </a:cubicBezTo>
                <a:cubicBezTo>
                  <a:pt x="84" y="427"/>
                  <a:pt x="83" y="427"/>
                  <a:pt x="83" y="426"/>
                </a:cubicBezTo>
                <a:cubicBezTo>
                  <a:pt x="81" y="424"/>
                  <a:pt x="80" y="421"/>
                  <a:pt x="78" y="418"/>
                </a:cubicBezTo>
                <a:cubicBezTo>
                  <a:pt x="77" y="417"/>
                  <a:pt x="76" y="416"/>
                  <a:pt x="76" y="414"/>
                </a:cubicBezTo>
                <a:cubicBezTo>
                  <a:pt x="73" y="410"/>
                  <a:pt x="71" y="406"/>
                  <a:pt x="68" y="402"/>
                </a:cubicBezTo>
                <a:cubicBezTo>
                  <a:pt x="66" y="398"/>
                  <a:pt x="64" y="394"/>
                  <a:pt x="61" y="389"/>
                </a:cubicBezTo>
                <a:cubicBezTo>
                  <a:pt x="61" y="388"/>
                  <a:pt x="60" y="388"/>
                  <a:pt x="60" y="387"/>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 name="Freeform 46"/>
          <p:cNvSpPr>
            <a:spLocks/>
          </p:cNvSpPr>
          <p:nvPr userDrawn="1"/>
        </p:nvSpPr>
        <p:spPr bwMode="auto">
          <a:xfrm flipH="1">
            <a:off x="2008188" y="2133600"/>
            <a:ext cx="860425" cy="803275"/>
          </a:xfrm>
          <a:custGeom>
            <a:avLst/>
            <a:gdLst>
              <a:gd name="T0" fmla="*/ 473 w 543"/>
              <a:gd name="T1" fmla="*/ 242 h 506"/>
              <a:gd name="T2" fmla="*/ 542 w 543"/>
              <a:gd name="T3" fmla="*/ 506 h 506"/>
              <a:gd name="T4" fmla="*/ 420 w 543"/>
              <a:gd name="T5" fmla="*/ 307 h 506"/>
              <a:gd name="T6" fmla="*/ 323 w 543"/>
              <a:gd name="T7" fmla="*/ 384 h 506"/>
              <a:gd name="T8" fmla="*/ 219 w 543"/>
              <a:gd name="T9" fmla="*/ 269 h 506"/>
              <a:gd name="T10" fmla="*/ 64 w 543"/>
              <a:gd name="T11" fmla="*/ 299 h 506"/>
              <a:gd name="T12" fmla="*/ 121 w 543"/>
              <a:gd name="T13" fmla="*/ 111 h 506"/>
              <a:gd name="T14" fmla="*/ 148 w 543"/>
              <a:gd name="T15" fmla="*/ 0 h 506"/>
              <a:gd name="T16" fmla="*/ 473 w 543"/>
              <a:gd name="T17" fmla="*/ 242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506">
                <a:moveTo>
                  <a:pt x="473" y="242"/>
                </a:moveTo>
                <a:cubicBezTo>
                  <a:pt x="521" y="325"/>
                  <a:pt x="543" y="417"/>
                  <a:pt x="542" y="506"/>
                </a:cubicBezTo>
                <a:cubicBezTo>
                  <a:pt x="512" y="383"/>
                  <a:pt x="467" y="318"/>
                  <a:pt x="420" y="307"/>
                </a:cubicBezTo>
                <a:cubicBezTo>
                  <a:pt x="373" y="297"/>
                  <a:pt x="404" y="404"/>
                  <a:pt x="323" y="384"/>
                </a:cubicBezTo>
                <a:cubicBezTo>
                  <a:pt x="242" y="363"/>
                  <a:pt x="315" y="289"/>
                  <a:pt x="219" y="269"/>
                </a:cubicBezTo>
                <a:cubicBezTo>
                  <a:pt x="123" y="249"/>
                  <a:pt x="128" y="334"/>
                  <a:pt x="64" y="299"/>
                </a:cubicBezTo>
                <a:cubicBezTo>
                  <a:pt x="0" y="264"/>
                  <a:pt x="61" y="169"/>
                  <a:pt x="121" y="111"/>
                </a:cubicBezTo>
                <a:cubicBezTo>
                  <a:pt x="154" y="79"/>
                  <a:pt x="154" y="34"/>
                  <a:pt x="148" y="0"/>
                </a:cubicBezTo>
                <a:cubicBezTo>
                  <a:pt x="280" y="31"/>
                  <a:pt x="400" y="115"/>
                  <a:pt x="473" y="24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 name="Freeform 47"/>
          <p:cNvSpPr>
            <a:spLocks/>
          </p:cNvSpPr>
          <p:nvPr userDrawn="1"/>
        </p:nvSpPr>
        <p:spPr bwMode="auto">
          <a:xfrm flipH="1">
            <a:off x="2247900" y="2733675"/>
            <a:ext cx="636588" cy="747713"/>
          </a:xfrm>
          <a:custGeom>
            <a:avLst/>
            <a:gdLst>
              <a:gd name="T0" fmla="*/ 204 w 402"/>
              <a:gd name="T1" fmla="*/ 59 h 471"/>
              <a:gd name="T2" fmla="*/ 74 w 402"/>
              <a:gd name="T3" fmla="*/ 79 h 471"/>
              <a:gd name="T4" fmla="*/ 5 w 402"/>
              <a:gd name="T5" fmla="*/ 203 h 471"/>
              <a:gd name="T6" fmla="*/ 63 w 402"/>
              <a:gd name="T7" fmla="*/ 304 h 471"/>
              <a:gd name="T8" fmla="*/ 208 w 402"/>
              <a:gd name="T9" fmla="*/ 327 h 471"/>
              <a:gd name="T10" fmla="*/ 297 w 402"/>
              <a:gd name="T11" fmla="*/ 373 h 471"/>
              <a:gd name="T12" fmla="*/ 322 w 402"/>
              <a:gd name="T13" fmla="*/ 144 h 471"/>
              <a:gd name="T14" fmla="*/ 204 w 402"/>
              <a:gd name="T15" fmla="*/ 59 h 4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2" h="471">
                <a:moveTo>
                  <a:pt x="204" y="59"/>
                </a:moveTo>
                <a:cubicBezTo>
                  <a:pt x="145" y="0"/>
                  <a:pt x="94" y="4"/>
                  <a:pt x="74" y="79"/>
                </a:cubicBezTo>
                <a:cubicBezTo>
                  <a:pt x="55" y="155"/>
                  <a:pt x="9" y="118"/>
                  <a:pt x="5" y="203"/>
                </a:cubicBezTo>
                <a:cubicBezTo>
                  <a:pt x="0" y="287"/>
                  <a:pt x="0" y="309"/>
                  <a:pt x="63" y="304"/>
                </a:cubicBezTo>
                <a:cubicBezTo>
                  <a:pt x="126" y="299"/>
                  <a:pt x="189" y="256"/>
                  <a:pt x="208" y="327"/>
                </a:cubicBezTo>
                <a:cubicBezTo>
                  <a:pt x="227" y="397"/>
                  <a:pt x="263" y="471"/>
                  <a:pt x="297" y="373"/>
                </a:cubicBezTo>
                <a:cubicBezTo>
                  <a:pt x="331" y="274"/>
                  <a:pt x="402" y="213"/>
                  <a:pt x="322" y="144"/>
                </a:cubicBezTo>
                <a:cubicBezTo>
                  <a:pt x="242" y="75"/>
                  <a:pt x="204" y="59"/>
                  <a:pt x="204" y="5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 name="Freeform 48"/>
          <p:cNvSpPr>
            <a:spLocks/>
          </p:cNvSpPr>
          <p:nvPr userDrawn="1"/>
        </p:nvSpPr>
        <p:spPr bwMode="auto">
          <a:xfrm flipH="1">
            <a:off x="2974976" y="2125662"/>
            <a:ext cx="438150" cy="336550"/>
          </a:xfrm>
          <a:custGeom>
            <a:avLst/>
            <a:gdLst>
              <a:gd name="T0" fmla="*/ 116 w 276"/>
              <a:gd name="T1" fmla="*/ 59 h 212"/>
              <a:gd name="T2" fmla="*/ 274 w 276"/>
              <a:gd name="T3" fmla="*/ 0 h 212"/>
              <a:gd name="T4" fmla="*/ 222 w 276"/>
              <a:gd name="T5" fmla="*/ 113 h 212"/>
              <a:gd name="T6" fmla="*/ 135 w 276"/>
              <a:gd name="T7" fmla="*/ 175 h 212"/>
              <a:gd name="T8" fmla="*/ 43 w 276"/>
              <a:gd name="T9" fmla="*/ 154 h 212"/>
              <a:gd name="T10" fmla="*/ 0 w 276"/>
              <a:gd name="T11" fmla="*/ 151 h 212"/>
              <a:gd name="T12" fmla="*/ 116 w 276"/>
              <a:gd name="T13" fmla="*/ 59 h 212"/>
            </a:gdLst>
            <a:ahLst/>
            <a:cxnLst>
              <a:cxn ang="0">
                <a:pos x="T0" y="T1"/>
              </a:cxn>
              <a:cxn ang="0">
                <a:pos x="T2" y="T3"/>
              </a:cxn>
              <a:cxn ang="0">
                <a:pos x="T4" y="T5"/>
              </a:cxn>
              <a:cxn ang="0">
                <a:pos x="T6" y="T7"/>
              </a:cxn>
              <a:cxn ang="0">
                <a:pos x="T8" y="T9"/>
              </a:cxn>
              <a:cxn ang="0">
                <a:pos x="T10" y="T11"/>
              </a:cxn>
              <a:cxn ang="0">
                <a:pos x="T12" y="T13"/>
              </a:cxn>
            </a:cxnLst>
            <a:rect l="0" t="0" r="r" b="b"/>
            <a:pathLst>
              <a:path w="276" h="212">
                <a:moveTo>
                  <a:pt x="116" y="59"/>
                </a:moveTo>
                <a:cubicBezTo>
                  <a:pt x="166" y="30"/>
                  <a:pt x="220" y="11"/>
                  <a:pt x="274" y="0"/>
                </a:cubicBezTo>
                <a:cubicBezTo>
                  <a:pt x="268" y="49"/>
                  <a:pt x="276" y="95"/>
                  <a:pt x="222" y="113"/>
                </a:cubicBezTo>
                <a:cubicBezTo>
                  <a:pt x="169" y="131"/>
                  <a:pt x="177" y="138"/>
                  <a:pt x="135" y="175"/>
                </a:cubicBezTo>
                <a:cubicBezTo>
                  <a:pt x="94" y="212"/>
                  <a:pt x="90" y="153"/>
                  <a:pt x="43" y="154"/>
                </a:cubicBezTo>
                <a:cubicBezTo>
                  <a:pt x="30" y="154"/>
                  <a:pt x="14" y="153"/>
                  <a:pt x="0" y="151"/>
                </a:cubicBezTo>
                <a:cubicBezTo>
                  <a:pt x="33" y="116"/>
                  <a:pt x="72" y="85"/>
                  <a:pt x="116" y="5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 name="Freeform 49"/>
          <p:cNvSpPr>
            <a:spLocks/>
          </p:cNvSpPr>
          <p:nvPr userDrawn="1"/>
        </p:nvSpPr>
        <p:spPr bwMode="auto">
          <a:xfrm flipH="1">
            <a:off x="2387601" y="3478212"/>
            <a:ext cx="307975" cy="249238"/>
          </a:xfrm>
          <a:custGeom>
            <a:avLst/>
            <a:gdLst>
              <a:gd name="T0" fmla="*/ 14 w 195"/>
              <a:gd name="T1" fmla="*/ 114 h 157"/>
              <a:gd name="T2" fmla="*/ 60 w 195"/>
              <a:gd name="T3" fmla="*/ 69 h 157"/>
              <a:gd name="T4" fmla="*/ 153 w 195"/>
              <a:gd name="T5" fmla="*/ 54 h 157"/>
              <a:gd name="T6" fmla="*/ 195 w 195"/>
              <a:gd name="T7" fmla="*/ 84 h 157"/>
              <a:gd name="T8" fmla="*/ 176 w 195"/>
              <a:gd name="T9" fmla="*/ 95 h 157"/>
              <a:gd name="T10" fmla="*/ 1 w 195"/>
              <a:gd name="T11" fmla="*/ 157 h 157"/>
              <a:gd name="T12" fmla="*/ 14 w 195"/>
              <a:gd name="T13" fmla="*/ 114 h 157"/>
            </a:gdLst>
            <a:ahLst/>
            <a:cxnLst>
              <a:cxn ang="0">
                <a:pos x="T0" y="T1"/>
              </a:cxn>
              <a:cxn ang="0">
                <a:pos x="T2" y="T3"/>
              </a:cxn>
              <a:cxn ang="0">
                <a:pos x="T4" y="T5"/>
              </a:cxn>
              <a:cxn ang="0">
                <a:pos x="T6" y="T7"/>
              </a:cxn>
              <a:cxn ang="0">
                <a:pos x="T8" y="T9"/>
              </a:cxn>
              <a:cxn ang="0">
                <a:pos x="T10" y="T11"/>
              </a:cxn>
              <a:cxn ang="0">
                <a:pos x="T12" y="T13"/>
              </a:cxn>
            </a:cxnLst>
            <a:rect l="0" t="0" r="r" b="b"/>
            <a:pathLst>
              <a:path w="195" h="157">
                <a:moveTo>
                  <a:pt x="14" y="114"/>
                </a:moveTo>
                <a:cubicBezTo>
                  <a:pt x="39" y="103"/>
                  <a:pt x="62" y="115"/>
                  <a:pt x="60" y="69"/>
                </a:cubicBezTo>
                <a:cubicBezTo>
                  <a:pt x="59" y="22"/>
                  <a:pt x="87" y="0"/>
                  <a:pt x="153" y="54"/>
                </a:cubicBezTo>
                <a:cubicBezTo>
                  <a:pt x="172" y="69"/>
                  <a:pt x="185" y="79"/>
                  <a:pt x="195" y="84"/>
                </a:cubicBezTo>
                <a:cubicBezTo>
                  <a:pt x="189" y="87"/>
                  <a:pt x="183" y="91"/>
                  <a:pt x="176" y="95"/>
                </a:cubicBezTo>
                <a:cubicBezTo>
                  <a:pt x="121" y="127"/>
                  <a:pt x="61" y="148"/>
                  <a:pt x="1" y="157"/>
                </a:cubicBezTo>
                <a:cubicBezTo>
                  <a:pt x="0" y="138"/>
                  <a:pt x="0" y="120"/>
                  <a:pt x="14" y="114"/>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 name="Freeform 50"/>
          <p:cNvSpPr>
            <a:spLocks noEditPoints="1"/>
          </p:cNvSpPr>
          <p:nvPr userDrawn="1"/>
        </p:nvSpPr>
        <p:spPr bwMode="auto">
          <a:xfrm flipH="1">
            <a:off x="1509713" y="1787525"/>
            <a:ext cx="2624138" cy="2624138"/>
          </a:xfrm>
          <a:custGeom>
            <a:avLst/>
            <a:gdLst>
              <a:gd name="T0" fmla="*/ 861 w 1654"/>
              <a:gd name="T1" fmla="*/ 1653 h 1653"/>
              <a:gd name="T2" fmla="*/ 737 w 1654"/>
              <a:gd name="T3" fmla="*/ 1605 h 1653"/>
              <a:gd name="T4" fmla="*/ 965 w 1654"/>
              <a:gd name="T5" fmla="*/ 1598 h 1653"/>
              <a:gd name="T6" fmla="*/ 623 w 1654"/>
              <a:gd name="T7" fmla="*/ 1628 h 1653"/>
              <a:gd name="T8" fmla="*/ 628 w 1654"/>
              <a:gd name="T9" fmla="*/ 1629 h 1653"/>
              <a:gd name="T10" fmla="*/ 1097 w 1654"/>
              <a:gd name="T11" fmla="*/ 1609 h 1653"/>
              <a:gd name="T12" fmla="*/ 489 w 1654"/>
              <a:gd name="T13" fmla="*/ 1558 h 1653"/>
              <a:gd name="T14" fmla="*/ 1171 w 1654"/>
              <a:gd name="T15" fmla="*/ 1556 h 1653"/>
              <a:gd name="T16" fmla="*/ 1190 w 1654"/>
              <a:gd name="T17" fmla="*/ 1568 h 1653"/>
              <a:gd name="T18" fmla="*/ 424 w 1654"/>
              <a:gd name="T19" fmla="*/ 1498 h 1653"/>
              <a:gd name="T20" fmla="*/ 1285 w 1654"/>
              <a:gd name="T21" fmla="*/ 1463 h 1653"/>
              <a:gd name="T22" fmla="*/ 303 w 1654"/>
              <a:gd name="T23" fmla="*/ 1466 h 1653"/>
              <a:gd name="T24" fmla="*/ 317 w 1654"/>
              <a:gd name="T25" fmla="*/ 1471 h 1653"/>
              <a:gd name="T26" fmla="*/ 1403 w 1654"/>
              <a:gd name="T27" fmla="*/ 1421 h 1653"/>
              <a:gd name="T28" fmla="*/ 211 w 1654"/>
              <a:gd name="T29" fmla="*/ 1346 h 1653"/>
              <a:gd name="T30" fmla="*/ 1447 w 1654"/>
              <a:gd name="T31" fmla="*/ 1342 h 1653"/>
              <a:gd name="T32" fmla="*/ 1460 w 1654"/>
              <a:gd name="T33" fmla="*/ 1346 h 1653"/>
              <a:gd name="T34" fmla="*/ 177 w 1654"/>
              <a:gd name="T35" fmla="*/ 1264 h 1653"/>
              <a:gd name="T36" fmla="*/ 1511 w 1654"/>
              <a:gd name="T37" fmla="*/ 1209 h 1653"/>
              <a:gd name="T38" fmla="*/ 81 w 1654"/>
              <a:gd name="T39" fmla="*/ 1185 h 1653"/>
              <a:gd name="T40" fmla="*/ 101 w 1654"/>
              <a:gd name="T41" fmla="*/ 1197 h 1653"/>
              <a:gd name="T42" fmla="*/ 1600 w 1654"/>
              <a:gd name="T43" fmla="*/ 1122 h 1653"/>
              <a:gd name="T44" fmla="*/ 49 w 1654"/>
              <a:gd name="T45" fmla="*/ 1037 h 1653"/>
              <a:gd name="T46" fmla="*/ 1607 w 1654"/>
              <a:gd name="T47" fmla="*/ 1031 h 1653"/>
              <a:gd name="T48" fmla="*/ 1612 w 1654"/>
              <a:gd name="T49" fmla="*/ 1032 h 1653"/>
              <a:gd name="T50" fmla="*/ 53 w 1654"/>
              <a:gd name="T51" fmla="*/ 948 h 1653"/>
              <a:gd name="T52" fmla="*/ 1609 w 1654"/>
              <a:gd name="T53" fmla="*/ 884 h 1653"/>
              <a:gd name="T54" fmla="*/ 0 w 1654"/>
              <a:gd name="T55" fmla="*/ 835 h 1653"/>
              <a:gd name="T56" fmla="*/ 44 w 1654"/>
              <a:gd name="T57" fmla="*/ 808 h 1653"/>
              <a:gd name="T58" fmla="*/ 1631 w 1654"/>
              <a:gd name="T59" fmla="*/ 799 h 1653"/>
              <a:gd name="T60" fmla="*/ 1633 w 1654"/>
              <a:gd name="T61" fmla="*/ 799 h 1653"/>
              <a:gd name="T62" fmla="*/ 37 w 1654"/>
              <a:gd name="T63" fmla="*/ 669 h 1653"/>
              <a:gd name="T64" fmla="*/ 1593 w 1654"/>
              <a:gd name="T65" fmla="*/ 657 h 1653"/>
              <a:gd name="T66" fmla="*/ 58 w 1654"/>
              <a:gd name="T67" fmla="*/ 607 h 1653"/>
              <a:gd name="T68" fmla="*/ 79 w 1654"/>
              <a:gd name="T69" fmla="*/ 592 h 1653"/>
              <a:gd name="T70" fmla="*/ 1601 w 1654"/>
              <a:gd name="T71" fmla="*/ 532 h 1653"/>
              <a:gd name="T72" fmla="*/ 82 w 1654"/>
              <a:gd name="T73" fmla="*/ 467 h 1653"/>
              <a:gd name="T74" fmla="*/ 1535 w 1654"/>
              <a:gd name="T75" fmla="*/ 463 h 1653"/>
              <a:gd name="T76" fmla="*/ 1546 w 1654"/>
              <a:gd name="T77" fmla="*/ 461 h 1653"/>
              <a:gd name="T78" fmla="*/ 177 w 1654"/>
              <a:gd name="T79" fmla="*/ 350 h 1653"/>
              <a:gd name="T80" fmla="*/ 1449 w 1654"/>
              <a:gd name="T81" fmla="*/ 349 h 1653"/>
              <a:gd name="T82" fmla="*/ 233 w 1654"/>
              <a:gd name="T83" fmla="*/ 305 h 1653"/>
              <a:gd name="T84" fmla="*/ 249 w 1654"/>
              <a:gd name="T85" fmla="*/ 298 h 1653"/>
              <a:gd name="T86" fmla="*/ 1404 w 1654"/>
              <a:gd name="T87" fmla="*/ 233 h 1653"/>
              <a:gd name="T88" fmla="*/ 304 w 1654"/>
              <a:gd name="T89" fmla="*/ 186 h 1653"/>
              <a:gd name="T90" fmla="*/ 1306 w 1654"/>
              <a:gd name="T91" fmla="*/ 200 h 1653"/>
              <a:gd name="T92" fmla="*/ 1323 w 1654"/>
              <a:gd name="T93" fmla="*/ 191 h 1653"/>
              <a:gd name="T94" fmla="*/ 440 w 1654"/>
              <a:gd name="T95" fmla="*/ 120 h 1653"/>
              <a:gd name="T96" fmla="*/ 1189 w 1654"/>
              <a:gd name="T97" fmla="*/ 131 h 1653"/>
              <a:gd name="T98" fmla="*/ 518 w 1654"/>
              <a:gd name="T99" fmla="*/ 104 h 1653"/>
              <a:gd name="T100" fmla="*/ 527 w 1654"/>
              <a:gd name="T101" fmla="*/ 102 h 1653"/>
              <a:gd name="T102" fmla="*/ 1099 w 1654"/>
              <a:gd name="T103" fmla="*/ 44 h 1653"/>
              <a:gd name="T104" fmla="*/ 624 w 1654"/>
              <a:gd name="T105" fmla="*/ 24 h 1653"/>
              <a:gd name="T106" fmla="*/ 987 w 1654"/>
              <a:gd name="T107" fmla="*/ 59 h 1653"/>
              <a:gd name="T108" fmla="*/ 1008 w 1654"/>
              <a:gd name="T109" fmla="*/ 41 h 1653"/>
              <a:gd name="T110" fmla="*/ 775 w 1654"/>
              <a:gd name="T111" fmla="*/ 22 h 1653"/>
              <a:gd name="T112" fmla="*/ 861 w 1654"/>
              <a:gd name="T113" fmla="*/ 43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54" h="1653">
                <a:moveTo>
                  <a:pt x="852" y="1653"/>
                </a:moveTo>
                <a:cubicBezTo>
                  <a:pt x="840" y="1653"/>
                  <a:pt x="830" y="1644"/>
                  <a:pt x="830" y="1632"/>
                </a:cubicBezTo>
                <a:cubicBezTo>
                  <a:pt x="830" y="1620"/>
                  <a:pt x="839" y="1610"/>
                  <a:pt x="851" y="1610"/>
                </a:cubicBezTo>
                <a:cubicBezTo>
                  <a:pt x="860" y="1609"/>
                  <a:pt x="860" y="1609"/>
                  <a:pt x="860" y="1609"/>
                </a:cubicBezTo>
                <a:cubicBezTo>
                  <a:pt x="872" y="1608"/>
                  <a:pt x="882" y="1618"/>
                  <a:pt x="882" y="1630"/>
                </a:cubicBezTo>
                <a:cubicBezTo>
                  <a:pt x="883" y="1642"/>
                  <a:pt x="873" y="1653"/>
                  <a:pt x="861" y="1653"/>
                </a:cubicBezTo>
                <a:cubicBezTo>
                  <a:pt x="852" y="1653"/>
                  <a:pt x="852" y="1653"/>
                  <a:pt x="852" y="1653"/>
                </a:cubicBezTo>
                <a:close/>
                <a:moveTo>
                  <a:pt x="743" y="1649"/>
                </a:moveTo>
                <a:cubicBezTo>
                  <a:pt x="743" y="1649"/>
                  <a:pt x="742" y="1649"/>
                  <a:pt x="741" y="1649"/>
                </a:cubicBezTo>
                <a:cubicBezTo>
                  <a:pt x="732" y="1648"/>
                  <a:pt x="732" y="1648"/>
                  <a:pt x="732" y="1648"/>
                </a:cubicBezTo>
                <a:cubicBezTo>
                  <a:pt x="720" y="1647"/>
                  <a:pt x="712" y="1636"/>
                  <a:pt x="713" y="1624"/>
                </a:cubicBezTo>
                <a:cubicBezTo>
                  <a:pt x="714" y="1612"/>
                  <a:pt x="725" y="1604"/>
                  <a:pt x="737" y="1605"/>
                </a:cubicBezTo>
                <a:cubicBezTo>
                  <a:pt x="746" y="1606"/>
                  <a:pt x="746" y="1606"/>
                  <a:pt x="746" y="1606"/>
                </a:cubicBezTo>
                <a:cubicBezTo>
                  <a:pt x="758" y="1607"/>
                  <a:pt x="766" y="1618"/>
                  <a:pt x="765" y="1630"/>
                </a:cubicBezTo>
                <a:cubicBezTo>
                  <a:pt x="764" y="1641"/>
                  <a:pt x="754" y="1649"/>
                  <a:pt x="743" y="1649"/>
                </a:cubicBezTo>
                <a:close/>
                <a:moveTo>
                  <a:pt x="968" y="1641"/>
                </a:moveTo>
                <a:cubicBezTo>
                  <a:pt x="958" y="1641"/>
                  <a:pt x="949" y="1634"/>
                  <a:pt x="947" y="1623"/>
                </a:cubicBezTo>
                <a:cubicBezTo>
                  <a:pt x="945" y="1611"/>
                  <a:pt x="953" y="1600"/>
                  <a:pt x="965" y="1598"/>
                </a:cubicBezTo>
                <a:cubicBezTo>
                  <a:pt x="972" y="1597"/>
                  <a:pt x="972" y="1597"/>
                  <a:pt x="972" y="1597"/>
                </a:cubicBezTo>
                <a:cubicBezTo>
                  <a:pt x="981" y="1640"/>
                  <a:pt x="981" y="1640"/>
                  <a:pt x="981" y="1640"/>
                </a:cubicBezTo>
                <a:cubicBezTo>
                  <a:pt x="972" y="1641"/>
                  <a:pt x="972" y="1641"/>
                  <a:pt x="972" y="1641"/>
                </a:cubicBezTo>
                <a:cubicBezTo>
                  <a:pt x="971" y="1641"/>
                  <a:pt x="970" y="1641"/>
                  <a:pt x="968" y="1641"/>
                </a:cubicBezTo>
                <a:close/>
                <a:moveTo>
                  <a:pt x="628" y="1629"/>
                </a:moveTo>
                <a:cubicBezTo>
                  <a:pt x="626" y="1629"/>
                  <a:pt x="624" y="1629"/>
                  <a:pt x="623" y="1628"/>
                </a:cubicBezTo>
                <a:cubicBezTo>
                  <a:pt x="614" y="1626"/>
                  <a:pt x="614" y="1626"/>
                  <a:pt x="614" y="1626"/>
                </a:cubicBezTo>
                <a:cubicBezTo>
                  <a:pt x="602" y="1623"/>
                  <a:pt x="595" y="1611"/>
                  <a:pt x="598" y="1599"/>
                </a:cubicBezTo>
                <a:cubicBezTo>
                  <a:pt x="602" y="1587"/>
                  <a:pt x="614" y="1581"/>
                  <a:pt x="625" y="1584"/>
                </a:cubicBezTo>
                <a:cubicBezTo>
                  <a:pt x="633" y="1586"/>
                  <a:pt x="633" y="1586"/>
                  <a:pt x="633" y="1586"/>
                </a:cubicBezTo>
                <a:cubicBezTo>
                  <a:pt x="645" y="1589"/>
                  <a:pt x="652" y="1601"/>
                  <a:pt x="649" y="1612"/>
                </a:cubicBezTo>
                <a:cubicBezTo>
                  <a:pt x="647" y="1622"/>
                  <a:pt x="638" y="1629"/>
                  <a:pt x="628" y="1629"/>
                </a:cubicBezTo>
                <a:close/>
                <a:moveTo>
                  <a:pt x="1082" y="1613"/>
                </a:moveTo>
                <a:cubicBezTo>
                  <a:pt x="1073" y="1613"/>
                  <a:pt x="1064" y="1607"/>
                  <a:pt x="1061" y="1598"/>
                </a:cubicBezTo>
                <a:cubicBezTo>
                  <a:pt x="1057" y="1586"/>
                  <a:pt x="1064" y="1574"/>
                  <a:pt x="1075" y="1570"/>
                </a:cubicBezTo>
                <a:cubicBezTo>
                  <a:pt x="1083" y="1567"/>
                  <a:pt x="1083" y="1567"/>
                  <a:pt x="1083" y="1567"/>
                </a:cubicBezTo>
                <a:cubicBezTo>
                  <a:pt x="1095" y="1563"/>
                  <a:pt x="1107" y="1569"/>
                  <a:pt x="1111" y="1581"/>
                </a:cubicBezTo>
                <a:cubicBezTo>
                  <a:pt x="1115" y="1592"/>
                  <a:pt x="1109" y="1605"/>
                  <a:pt x="1097" y="1609"/>
                </a:cubicBezTo>
                <a:cubicBezTo>
                  <a:pt x="1089" y="1612"/>
                  <a:pt x="1089" y="1612"/>
                  <a:pt x="1089" y="1612"/>
                </a:cubicBezTo>
                <a:cubicBezTo>
                  <a:pt x="1087" y="1612"/>
                  <a:pt x="1084" y="1613"/>
                  <a:pt x="1082" y="1613"/>
                </a:cubicBezTo>
                <a:close/>
                <a:moveTo>
                  <a:pt x="517" y="1592"/>
                </a:moveTo>
                <a:cubicBezTo>
                  <a:pt x="514" y="1592"/>
                  <a:pt x="511" y="1591"/>
                  <a:pt x="508" y="1590"/>
                </a:cubicBezTo>
                <a:cubicBezTo>
                  <a:pt x="500" y="1587"/>
                  <a:pt x="500" y="1587"/>
                  <a:pt x="500" y="1587"/>
                </a:cubicBezTo>
                <a:cubicBezTo>
                  <a:pt x="489" y="1582"/>
                  <a:pt x="484" y="1569"/>
                  <a:pt x="489" y="1558"/>
                </a:cubicBezTo>
                <a:cubicBezTo>
                  <a:pt x="494" y="1547"/>
                  <a:pt x="506" y="1542"/>
                  <a:pt x="518" y="1546"/>
                </a:cubicBezTo>
                <a:cubicBezTo>
                  <a:pt x="525" y="1550"/>
                  <a:pt x="525" y="1550"/>
                  <a:pt x="525" y="1550"/>
                </a:cubicBezTo>
                <a:cubicBezTo>
                  <a:pt x="537" y="1554"/>
                  <a:pt x="542" y="1567"/>
                  <a:pt x="537" y="1578"/>
                </a:cubicBezTo>
                <a:cubicBezTo>
                  <a:pt x="534" y="1587"/>
                  <a:pt x="525" y="1592"/>
                  <a:pt x="517" y="1592"/>
                </a:cubicBezTo>
                <a:close/>
                <a:moveTo>
                  <a:pt x="1190" y="1568"/>
                </a:moveTo>
                <a:cubicBezTo>
                  <a:pt x="1182" y="1568"/>
                  <a:pt x="1175" y="1563"/>
                  <a:pt x="1171" y="1556"/>
                </a:cubicBezTo>
                <a:cubicBezTo>
                  <a:pt x="1165" y="1545"/>
                  <a:pt x="1170" y="1532"/>
                  <a:pt x="1180" y="1526"/>
                </a:cubicBezTo>
                <a:cubicBezTo>
                  <a:pt x="1188" y="1522"/>
                  <a:pt x="1188" y="1522"/>
                  <a:pt x="1188" y="1522"/>
                </a:cubicBezTo>
                <a:cubicBezTo>
                  <a:pt x="1199" y="1517"/>
                  <a:pt x="1212" y="1521"/>
                  <a:pt x="1217" y="1532"/>
                </a:cubicBezTo>
                <a:cubicBezTo>
                  <a:pt x="1223" y="1542"/>
                  <a:pt x="1219" y="1556"/>
                  <a:pt x="1208" y="1561"/>
                </a:cubicBezTo>
                <a:cubicBezTo>
                  <a:pt x="1200" y="1565"/>
                  <a:pt x="1200" y="1565"/>
                  <a:pt x="1200" y="1565"/>
                </a:cubicBezTo>
                <a:cubicBezTo>
                  <a:pt x="1197" y="1567"/>
                  <a:pt x="1194" y="1568"/>
                  <a:pt x="1190" y="1568"/>
                </a:cubicBezTo>
                <a:close/>
                <a:moveTo>
                  <a:pt x="412" y="1539"/>
                </a:moveTo>
                <a:cubicBezTo>
                  <a:pt x="409" y="1539"/>
                  <a:pt x="405" y="1538"/>
                  <a:pt x="401" y="1536"/>
                </a:cubicBezTo>
                <a:cubicBezTo>
                  <a:pt x="394" y="1531"/>
                  <a:pt x="394" y="1531"/>
                  <a:pt x="394" y="1531"/>
                </a:cubicBezTo>
                <a:cubicBezTo>
                  <a:pt x="383" y="1525"/>
                  <a:pt x="380" y="1511"/>
                  <a:pt x="386" y="1501"/>
                </a:cubicBezTo>
                <a:cubicBezTo>
                  <a:pt x="393" y="1491"/>
                  <a:pt x="406" y="1487"/>
                  <a:pt x="417" y="1494"/>
                </a:cubicBezTo>
                <a:cubicBezTo>
                  <a:pt x="424" y="1498"/>
                  <a:pt x="424" y="1498"/>
                  <a:pt x="424" y="1498"/>
                </a:cubicBezTo>
                <a:cubicBezTo>
                  <a:pt x="434" y="1504"/>
                  <a:pt x="437" y="1518"/>
                  <a:pt x="431" y="1528"/>
                </a:cubicBezTo>
                <a:cubicBezTo>
                  <a:pt x="427" y="1535"/>
                  <a:pt x="420" y="1539"/>
                  <a:pt x="412" y="1539"/>
                </a:cubicBezTo>
                <a:close/>
                <a:moveTo>
                  <a:pt x="1291" y="1507"/>
                </a:moveTo>
                <a:cubicBezTo>
                  <a:pt x="1284" y="1507"/>
                  <a:pt x="1277" y="1504"/>
                  <a:pt x="1273" y="1498"/>
                </a:cubicBezTo>
                <a:cubicBezTo>
                  <a:pt x="1266" y="1488"/>
                  <a:pt x="1268" y="1474"/>
                  <a:pt x="1278" y="1467"/>
                </a:cubicBezTo>
                <a:cubicBezTo>
                  <a:pt x="1285" y="1463"/>
                  <a:pt x="1285" y="1463"/>
                  <a:pt x="1285" y="1463"/>
                </a:cubicBezTo>
                <a:cubicBezTo>
                  <a:pt x="1295" y="1455"/>
                  <a:pt x="1308" y="1458"/>
                  <a:pt x="1316" y="1467"/>
                </a:cubicBezTo>
                <a:cubicBezTo>
                  <a:pt x="1323" y="1477"/>
                  <a:pt x="1320" y="1491"/>
                  <a:pt x="1311" y="1498"/>
                </a:cubicBezTo>
                <a:cubicBezTo>
                  <a:pt x="1303" y="1503"/>
                  <a:pt x="1303" y="1503"/>
                  <a:pt x="1303" y="1503"/>
                </a:cubicBezTo>
                <a:cubicBezTo>
                  <a:pt x="1299" y="1506"/>
                  <a:pt x="1295" y="1507"/>
                  <a:pt x="1291" y="1507"/>
                </a:cubicBezTo>
                <a:close/>
                <a:moveTo>
                  <a:pt x="317" y="1471"/>
                </a:moveTo>
                <a:cubicBezTo>
                  <a:pt x="312" y="1471"/>
                  <a:pt x="307" y="1470"/>
                  <a:pt x="303" y="1466"/>
                </a:cubicBezTo>
                <a:cubicBezTo>
                  <a:pt x="296" y="1461"/>
                  <a:pt x="296" y="1461"/>
                  <a:pt x="296" y="1461"/>
                </a:cubicBezTo>
                <a:cubicBezTo>
                  <a:pt x="287" y="1453"/>
                  <a:pt x="286" y="1439"/>
                  <a:pt x="293" y="1430"/>
                </a:cubicBezTo>
                <a:cubicBezTo>
                  <a:pt x="301" y="1421"/>
                  <a:pt x="315" y="1419"/>
                  <a:pt x="324" y="1427"/>
                </a:cubicBezTo>
                <a:cubicBezTo>
                  <a:pt x="331" y="1432"/>
                  <a:pt x="331" y="1432"/>
                  <a:pt x="331" y="1432"/>
                </a:cubicBezTo>
                <a:cubicBezTo>
                  <a:pt x="340" y="1440"/>
                  <a:pt x="341" y="1454"/>
                  <a:pt x="334" y="1463"/>
                </a:cubicBezTo>
                <a:cubicBezTo>
                  <a:pt x="329" y="1469"/>
                  <a:pt x="323" y="1471"/>
                  <a:pt x="317" y="1471"/>
                </a:cubicBezTo>
                <a:close/>
                <a:moveTo>
                  <a:pt x="1381" y="1433"/>
                </a:moveTo>
                <a:cubicBezTo>
                  <a:pt x="1376" y="1433"/>
                  <a:pt x="1370" y="1431"/>
                  <a:pt x="1365" y="1426"/>
                </a:cubicBezTo>
                <a:cubicBezTo>
                  <a:pt x="1357" y="1417"/>
                  <a:pt x="1358" y="1403"/>
                  <a:pt x="1366" y="1395"/>
                </a:cubicBezTo>
                <a:cubicBezTo>
                  <a:pt x="1372" y="1389"/>
                  <a:pt x="1372" y="1389"/>
                  <a:pt x="1372" y="1389"/>
                </a:cubicBezTo>
                <a:cubicBezTo>
                  <a:pt x="1381" y="1381"/>
                  <a:pt x="1395" y="1381"/>
                  <a:pt x="1403" y="1390"/>
                </a:cubicBezTo>
                <a:cubicBezTo>
                  <a:pt x="1412" y="1398"/>
                  <a:pt x="1412" y="1412"/>
                  <a:pt x="1403" y="1421"/>
                </a:cubicBezTo>
                <a:cubicBezTo>
                  <a:pt x="1396" y="1427"/>
                  <a:pt x="1396" y="1427"/>
                  <a:pt x="1396" y="1427"/>
                </a:cubicBezTo>
                <a:cubicBezTo>
                  <a:pt x="1392" y="1431"/>
                  <a:pt x="1387" y="1433"/>
                  <a:pt x="1381" y="1433"/>
                </a:cubicBezTo>
                <a:close/>
                <a:moveTo>
                  <a:pt x="232" y="1391"/>
                </a:moveTo>
                <a:cubicBezTo>
                  <a:pt x="226" y="1391"/>
                  <a:pt x="220" y="1388"/>
                  <a:pt x="216" y="1384"/>
                </a:cubicBezTo>
                <a:cubicBezTo>
                  <a:pt x="210" y="1377"/>
                  <a:pt x="210" y="1377"/>
                  <a:pt x="210" y="1377"/>
                </a:cubicBezTo>
                <a:cubicBezTo>
                  <a:pt x="202" y="1368"/>
                  <a:pt x="202" y="1354"/>
                  <a:pt x="211" y="1346"/>
                </a:cubicBezTo>
                <a:cubicBezTo>
                  <a:pt x="220" y="1338"/>
                  <a:pt x="234" y="1339"/>
                  <a:pt x="242" y="1348"/>
                </a:cubicBezTo>
                <a:cubicBezTo>
                  <a:pt x="248" y="1354"/>
                  <a:pt x="248" y="1354"/>
                  <a:pt x="248" y="1354"/>
                </a:cubicBezTo>
                <a:cubicBezTo>
                  <a:pt x="256" y="1363"/>
                  <a:pt x="255" y="1377"/>
                  <a:pt x="247" y="1385"/>
                </a:cubicBezTo>
                <a:cubicBezTo>
                  <a:pt x="242" y="1389"/>
                  <a:pt x="237" y="1391"/>
                  <a:pt x="232" y="1391"/>
                </a:cubicBezTo>
                <a:close/>
                <a:moveTo>
                  <a:pt x="1460" y="1346"/>
                </a:moveTo>
                <a:cubicBezTo>
                  <a:pt x="1456" y="1346"/>
                  <a:pt x="1451" y="1345"/>
                  <a:pt x="1447" y="1342"/>
                </a:cubicBezTo>
                <a:cubicBezTo>
                  <a:pt x="1437" y="1334"/>
                  <a:pt x="1436" y="1320"/>
                  <a:pt x="1443" y="1311"/>
                </a:cubicBezTo>
                <a:cubicBezTo>
                  <a:pt x="1448" y="1304"/>
                  <a:pt x="1448" y="1304"/>
                  <a:pt x="1448" y="1304"/>
                </a:cubicBezTo>
                <a:cubicBezTo>
                  <a:pt x="1456" y="1295"/>
                  <a:pt x="1470" y="1293"/>
                  <a:pt x="1479" y="1300"/>
                </a:cubicBezTo>
                <a:cubicBezTo>
                  <a:pt x="1489" y="1308"/>
                  <a:pt x="1490" y="1321"/>
                  <a:pt x="1483" y="1331"/>
                </a:cubicBezTo>
                <a:cubicBezTo>
                  <a:pt x="1478" y="1338"/>
                  <a:pt x="1478" y="1338"/>
                  <a:pt x="1478" y="1338"/>
                </a:cubicBezTo>
                <a:cubicBezTo>
                  <a:pt x="1473" y="1344"/>
                  <a:pt x="1467" y="1346"/>
                  <a:pt x="1460" y="1346"/>
                </a:cubicBezTo>
                <a:close/>
                <a:moveTo>
                  <a:pt x="159" y="1299"/>
                </a:moveTo>
                <a:cubicBezTo>
                  <a:pt x="152" y="1299"/>
                  <a:pt x="145" y="1295"/>
                  <a:pt x="141" y="1289"/>
                </a:cubicBezTo>
                <a:cubicBezTo>
                  <a:pt x="136" y="1282"/>
                  <a:pt x="136" y="1282"/>
                  <a:pt x="136" y="1282"/>
                </a:cubicBezTo>
                <a:cubicBezTo>
                  <a:pt x="130" y="1271"/>
                  <a:pt x="132" y="1258"/>
                  <a:pt x="142" y="1251"/>
                </a:cubicBezTo>
                <a:cubicBezTo>
                  <a:pt x="153" y="1245"/>
                  <a:pt x="166" y="1247"/>
                  <a:pt x="173" y="1257"/>
                </a:cubicBezTo>
                <a:cubicBezTo>
                  <a:pt x="177" y="1264"/>
                  <a:pt x="177" y="1264"/>
                  <a:pt x="177" y="1264"/>
                </a:cubicBezTo>
                <a:cubicBezTo>
                  <a:pt x="184" y="1274"/>
                  <a:pt x="182" y="1288"/>
                  <a:pt x="172" y="1295"/>
                </a:cubicBezTo>
                <a:cubicBezTo>
                  <a:pt x="168" y="1297"/>
                  <a:pt x="164" y="1299"/>
                  <a:pt x="159" y="1299"/>
                </a:cubicBezTo>
                <a:close/>
                <a:moveTo>
                  <a:pt x="1526" y="1249"/>
                </a:moveTo>
                <a:cubicBezTo>
                  <a:pt x="1522" y="1249"/>
                  <a:pt x="1518" y="1248"/>
                  <a:pt x="1515" y="1246"/>
                </a:cubicBezTo>
                <a:cubicBezTo>
                  <a:pt x="1505" y="1240"/>
                  <a:pt x="1501" y="1227"/>
                  <a:pt x="1507" y="1217"/>
                </a:cubicBezTo>
                <a:cubicBezTo>
                  <a:pt x="1511" y="1209"/>
                  <a:pt x="1511" y="1209"/>
                  <a:pt x="1511" y="1209"/>
                </a:cubicBezTo>
                <a:cubicBezTo>
                  <a:pt x="1517" y="1199"/>
                  <a:pt x="1530" y="1195"/>
                  <a:pt x="1541" y="1201"/>
                </a:cubicBezTo>
                <a:cubicBezTo>
                  <a:pt x="1552" y="1207"/>
                  <a:pt x="1555" y="1220"/>
                  <a:pt x="1549" y="1231"/>
                </a:cubicBezTo>
                <a:cubicBezTo>
                  <a:pt x="1545" y="1238"/>
                  <a:pt x="1545" y="1238"/>
                  <a:pt x="1545" y="1238"/>
                </a:cubicBezTo>
                <a:cubicBezTo>
                  <a:pt x="1541" y="1245"/>
                  <a:pt x="1534" y="1249"/>
                  <a:pt x="1526" y="1249"/>
                </a:cubicBezTo>
                <a:close/>
                <a:moveTo>
                  <a:pt x="101" y="1197"/>
                </a:moveTo>
                <a:cubicBezTo>
                  <a:pt x="93" y="1197"/>
                  <a:pt x="85" y="1192"/>
                  <a:pt x="81" y="1185"/>
                </a:cubicBezTo>
                <a:cubicBezTo>
                  <a:pt x="77" y="1176"/>
                  <a:pt x="77" y="1176"/>
                  <a:pt x="77" y="1176"/>
                </a:cubicBezTo>
                <a:cubicBezTo>
                  <a:pt x="72" y="1165"/>
                  <a:pt x="77" y="1152"/>
                  <a:pt x="88" y="1147"/>
                </a:cubicBezTo>
                <a:cubicBezTo>
                  <a:pt x="99" y="1142"/>
                  <a:pt x="112" y="1147"/>
                  <a:pt x="117" y="1158"/>
                </a:cubicBezTo>
                <a:cubicBezTo>
                  <a:pt x="121" y="1165"/>
                  <a:pt x="121" y="1165"/>
                  <a:pt x="121" y="1165"/>
                </a:cubicBezTo>
                <a:cubicBezTo>
                  <a:pt x="126" y="1176"/>
                  <a:pt x="121" y="1189"/>
                  <a:pt x="110" y="1195"/>
                </a:cubicBezTo>
                <a:cubicBezTo>
                  <a:pt x="107" y="1196"/>
                  <a:pt x="104" y="1197"/>
                  <a:pt x="101" y="1197"/>
                </a:cubicBezTo>
                <a:close/>
                <a:moveTo>
                  <a:pt x="1577" y="1144"/>
                </a:moveTo>
                <a:cubicBezTo>
                  <a:pt x="1574" y="1144"/>
                  <a:pt x="1571" y="1143"/>
                  <a:pt x="1569" y="1142"/>
                </a:cubicBezTo>
                <a:cubicBezTo>
                  <a:pt x="1558" y="1138"/>
                  <a:pt x="1552" y="1125"/>
                  <a:pt x="1556" y="1114"/>
                </a:cubicBezTo>
                <a:cubicBezTo>
                  <a:pt x="1560" y="1106"/>
                  <a:pt x="1560" y="1106"/>
                  <a:pt x="1560" y="1106"/>
                </a:cubicBezTo>
                <a:cubicBezTo>
                  <a:pt x="1564" y="1095"/>
                  <a:pt x="1577" y="1089"/>
                  <a:pt x="1588" y="1093"/>
                </a:cubicBezTo>
                <a:cubicBezTo>
                  <a:pt x="1599" y="1098"/>
                  <a:pt x="1605" y="1110"/>
                  <a:pt x="1600" y="1122"/>
                </a:cubicBezTo>
                <a:cubicBezTo>
                  <a:pt x="1597" y="1130"/>
                  <a:pt x="1597" y="1130"/>
                  <a:pt x="1597" y="1130"/>
                </a:cubicBezTo>
                <a:cubicBezTo>
                  <a:pt x="1594" y="1139"/>
                  <a:pt x="1586" y="1144"/>
                  <a:pt x="1577" y="1144"/>
                </a:cubicBezTo>
                <a:close/>
                <a:moveTo>
                  <a:pt x="58" y="1088"/>
                </a:moveTo>
                <a:cubicBezTo>
                  <a:pt x="49" y="1088"/>
                  <a:pt x="40" y="1082"/>
                  <a:pt x="37" y="1072"/>
                </a:cubicBezTo>
                <a:cubicBezTo>
                  <a:pt x="34" y="1064"/>
                  <a:pt x="34" y="1064"/>
                  <a:pt x="34" y="1064"/>
                </a:cubicBezTo>
                <a:cubicBezTo>
                  <a:pt x="31" y="1052"/>
                  <a:pt x="38" y="1040"/>
                  <a:pt x="49" y="1037"/>
                </a:cubicBezTo>
                <a:cubicBezTo>
                  <a:pt x="61" y="1033"/>
                  <a:pt x="73" y="1040"/>
                  <a:pt x="76" y="1051"/>
                </a:cubicBezTo>
                <a:cubicBezTo>
                  <a:pt x="79" y="1059"/>
                  <a:pt x="79" y="1059"/>
                  <a:pt x="79" y="1059"/>
                </a:cubicBezTo>
                <a:cubicBezTo>
                  <a:pt x="82" y="1071"/>
                  <a:pt x="76" y="1083"/>
                  <a:pt x="64" y="1087"/>
                </a:cubicBezTo>
                <a:cubicBezTo>
                  <a:pt x="62" y="1087"/>
                  <a:pt x="60" y="1088"/>
                  <a:pt x="58" y="1088"/>
                </a:cubicBezTo>
                <a:close/>
                <a:moveTo>
                  <a:pt x="1612" y="1032"/>
                </a:moveTo>
                <a:cubicBezTo>
                  <a:pt x="1610" y="1032"/>
                  <a:pt x="1608" y="1032"/>
                  <a:pt x="1607" y="1031"/>
                </a:cubicBezTo>
                <a:cubicBezTo>
                  <a:pt x="1595" y="1029"/>
                  <a:pt x="1588" y="1017"/>
                  <a:pt x="1590" y="1005"/>
                </a:cubicBezTo>
                <a:cubicBezTo>
                  <a:pt x="1592" y="997"/>
                  <a:pt x="1592" y="997"/>
                  <a:pt x="1592" y="997"/>
                </a:cubicBezTo>
                <a:cubicBezTo>
                  <a:pt x="1595" y="985"/>
                  <a:pt x="1607" y="978"/>
                  <a:pt x="1618" y="980"/>
                </a:cubicBezTo>
                <a:cubicBezTo>
                  <a:pt x="1630" y="983"/>
                  <a:pt x="1638" y="995"/>
                  <a:pt x="1635" y="1006"/>
                </a:cubicBezTo>
                <a:cubicBezTo>
                  <a:pt x="1633" y="1015"/>
                  <a:pt x="1633" y="1015"/>
                  <a:pt x="1633" y="1015"/>
                </a:cubicBezTo>
                <a:cubicBezTo>
                  <a:pt x="1631" y="1025"/>
                  <a:pt x="1622" y="1032"/>
                  <a:pt x="1612" y="1032"/>
                </a:cubicBezTo>
                <a:close/>
                <a:moveTo>
                  <a:pt x="31" y="974"/>
                </a:moveTo>
                <a:cubicBezTo>
                  <a:pt x="21" y="974"/>
                  <a:pt x="12" y="966"/>
                  <a:pt x="10" y="955"/>
                </a:cubicBezTo>
                <a:cubicBezTo>
                  <a:pt x="9" y="946"/>
                  <a:pt x="9" y="946"/>
                  <a:pt x="9" y="946"/>
                </a:cubicBezTo>
                <a:cubicBezTo>
                  <a:pt x="7" y="934"/>
                  <a:pt x="15" y="923"/>
                  <a:pt x="27" y="922"/>
                </a:cubicBezTo>
                <a:cubicBezTo>
                  <a:pt x="39" y="920"/>
                  <a:pt x="50" y="928"/>
                  <a:pt x="52" y="940"/>
                </a:cubicBezTo>
                <a:cubicBezTo>
                  <a:pt x="53" y="948"/>
                  <a:pt x="53" y="948"/>
                  <a:pt x="53" y="948"/>
                </a:cubicBezTo>
                <a:cubicBezTo>
                  <a:pt x="55" y="960"/>
                  <a:pt x="47" y="972"/>
                  <a:pt x="35" y="973"/>
                </a:cubicBezTo>
                <a:cubicBezTo>
                  <a:pt x="34" y="974"/>
                  <a:pt x="33" y="974"/>
                  <a:pt x="31" y="974"/>
                </a:cubicBezTo>
                <a:close/>
                <a:moveTo>
                  <a:pt x="1630" y="916"/>
                </a:moveTo>
                <a:cubicBezTo>
                  <a:pt x="1629" y="916"/>
                  <a:pt x="1629" y="916"/>
                  <a:pt x="1628" y="916"/>
                </a:cubicBezTo>
                <a:cubicBezTo>
                  <a:pt x="1616" y="915"/>
                  <a:pt x="1607" y="905"/>
                  <a:pt x="1608" y="893"/>
                </a:cubicBezTo>
                <a:cubicBezTo>
                  <a:pt x="1609" y="884"/>
                  <a:pt x="1609" y="884"/>
                  <a:pt x="1609" y="884"/>
                </a:cubicBezTo>
                <a:cubicBezTo>
                  <a:pt x="1610" y="872"/>
                  <a:pt x="1620" y="863"/>
                  <a:pt x="1632" y="864"/>
                </a:cubicBezTo>
                <a:cubicBezTo>
                  <a:pt x="1644" y="865"/>
                  <a:pt x="1653" y="875"/>
                  <a:pt x="1652" y="887"/>
                </a:cubicBezTo>
                <a:cubicBezTo>
                  <a:pt x="1652" y="896"/>
                  <a:pt x="1652" y="896"/>
                  <a:pt x="1652" y="896"/>
                </a:cubicBezTo>
                <a:cubicBezTo>
                  <a:pt x="1651" y="908"/>
                  <a:pt x="1641" y="916"/>
                  <a:pt x="1630" y="916"/>
                </a:cubicBezTo>
                <a:close/>
                <a:moveTo>
                  <a:pt x="22" y="857"/>
                </a:moveTo>
                <a:cubicBezTo>
                  <a:pt x="10" y="857"/>
                  <a:pt x="0" y="847"/>
                  <a:pt x="0" y="835"/>
                </a:cubicBezTo>
                <a:cubicBezTo>
                  <a:pt x="0" y="826"/>
                  <a:pt x="0" y="826"/>
                  <a:pt x="0" y="826"/>
                </a:cubicBezTo>
                <a:cubicBezTo>
                  <a:pt x="0" y="825"/>
                  <a:pt x="0" y="823"/>
                  <a:pt x="0" y="821"/>
                </a:cubicBezTo>
                <a:cubicBezTo>
                  <a:pt x="0" y="819"/>
                  <a:pt x="0" y="818"/>
                  <a:pt x="0" y="816"/>
                </a:cubicBezTo>
                <a:cubicBezTo>
                  <a:pt x="0" y="807"/>
                  <a:pt x="0" y="807"/>
                  <a:pt x="0" y="807"/>
                </a:cubicBezTo>
                <a:cubicBezTo>
                  <a:pt x="0" y="795"/>
                  <a:pt x="11" y="785"/>
                  <a:pt x="22" y="786"/>
                </a:cubicBezTo>
                <a:cubicBezTo>
                  <a:pt x="35" y="786"/>
                  <a:pt x="44" y="796"/>
                  <a:pt x="44" y="808"/>
                </a:cubicBezTo>
                <a:cubicBezTo>
                  <a:pt x="44" y="817"/>
                  <a:pt x="44" y="817"/>
                  <a:pt x="44" y="817"/>
                </a:cubicBezTo>
                <a:cubicBezTo>
                  <a:pt x="44" y="818"/>
                  <a:pt x="43" y="820"/>
                  <a:pt x="43" y="821"/>
                </a:cubicBezTo>
                <a:cubicBezTo>
                  <a:pt x="43" y="823"/>
                  <a:pt x="44" y="825"/>
                  <a:pt x="44" y="826"/>
                </a:cubicBezTo>
                <a:cubicBezTo>
                  <a:pt x="44" y="835"/>
                  <a:pt x="44" y="835"/>
                  <a:pt x="44" y="835"/>
                </a:cubicBezTo>
                <a:cubicBezTo>
                  <a:pt x="44" y="847"/>
                  <a:pt x="34" y="857"/>
                  <a:pt x="22" y="857"/>
                </a:cubicBezTo>
                <a:close/>
                <a:moveTo>
                  <a:pt x="1631" y="799"/>
                </a:moveTo>
                <a:cubicBezTo>
                  <a:pt x="1620" y="799"/>
                  <a:pt x="1610" y="790"/>
                  <a:pt x="1609" y="779"/>
                </a:cubicBezTo>
                <a:cubicBezTo>
                  <a:pt x="1609" y="770"/>
                  <a:pt x="1609" y="770"/>
                  <a:pt x="1609" y="770"/>
                </a:cubicBezTo>
                <a:cubicBezTo>
                  <a:pt x="1608" y="758"/>
                  <a:pt x="1617" y="748"/>
                  <a:pt x="1629" y="747"/>
                </a:cubicBezTo>
                <a:cubicBezTo>
                  <a:pt x="1641" y="746"/>
                  <a:pt x="1652" y="755"/>
                  <a:pt x="1653" y="767"/>
                </a:cubicBezTo>
                <a:cubicBezTo>
                  <a:pt x="1653" y="776"/>
                  <a:pt x="1653" y="776"/>
                  <a:pt x="1653" y="776"/>
                </a:cubicBezTo>
                <a:cubicBezTo>
                  <a:pt x="1654" y="788"/>
                  <a:pt x="1645" y="798"/>
                  <a:pt x="1633" y="799"/>
                </a:cubicBezTo>
                <a:cubicBezTo>
                  <a:pt x="1632" y="799"/>
                  <a:pt x="1632" y="799"/>
                  <a:pt x="1631" y="799"/>
                </a:cubicBezTo>
                <a:close/>
                <a:moveTo>
                  <a:pt x="32" y="721"/>
                </a:moveTo>
                <a:cubicBezTo>
                  <a:pt x="31" y="721"/>
                  <a:pt x="29" y="721"/>
                  <a:pt x="28" y="721"/>
                </a:cubicBezTo>
                <a:cubicBezTo>
                  <a:pt x="16" y="719"/>
                  <a:pt x="8" y="708"/>
                  <a:pt x="10" y="696"/>
                </a:cubicBezTo>
                <a:cubicBezTo>
                  <a:pt x="12" y="687"/>
                  <a:pt x="12" y="687"/>
                  <a:pt x="12" y="687"/>
                </a:cubicBezTo>
                <a:cubicBezTo>
                  <a:pt x="14" y="675"/>
                  <a:pt x="25" y="667"/>
                  <a:pt x="37" y="669"/>
                </a:cubicBezTo>
                <a:cubicBezTo>
                  <a:pt x="49" y="671"/>
                  <a:pt x="57" y="683"/>
                  <a:pt x="55" y="694"/>
                </a:cubicBezTo>
                <a:cubicBezTo>
                  <a:pt x="53" y="703"/>
                  <a:pt x="53" y="703"/>
                  <a:pt x="53" y="703"/>
                </a:cubicBezTo>
                <a:cubicBezTo>
                  <a:pt x="52" y="714"/>
                  <a:pt x="42" y="721"/>
                  <a:pt x="32" y="721"/>
                </a:cubicBezTo>
                <a:close/>
                <a:moveTo>
                  <a:pt x="1616" y="683"/>
                </a:moveTo>
                <a:cubicBezTo>
                  <a:pt x="1606" y="683"/>
                  <a:pt x="1597" y="676"/>
                  <a:pt x="1594" y="666"/>
                </a:cubicBezTo>
                <a:cubicBezTo>
                  <a:pt x="1593" y="657"/>
                  <a:pt x="1593" y="657"/>
                  <a:pt x="1593" y="657"/>
                </a:cubicBezTo>
                <a:cubicBezTo>
                  <a:pt x="1590" y="645"/>
                  <a:pt x="1598" y="634"/>
                  <a:pt x="1609" y="631"/>
                </a:cubicBezTo>
                <a:cubicBezTo>
                  <a:pt x="1621" y="629"/>
                  <a:pt x="1633" y="636"/>
                  <a:pt x="1635" y="648"/>
                </a:cubicBezTo>
                <a:cubicBezTo>
                  <a:pt x="1637" y="657"/>
                  <a:pt x="1637" y="657"/>
                  <a:pt x="1637" y="657"/>
                </a:cubicBezTo>
                <a:cubicBezTo>
                  <a:pt x="1640" y="668"/>
                  <a:pt x="1632" y="680"/>
                  <a:pt x="1620" y="683"/>
                </a:cubicBezTo>
                <a:cubicBezTo>
                  <a:pt x="1619" y="683"/>
                  <a:pt x="1617" y="683"/>
                  <a:pt x="1616" y="683"/>
                </a:cubicBezTo>
                <a:close/>
                <a:moveTo>
                  <a:pt x="58" y="607"/>
                </a:moveTo>
                <a:cubicBezTo>
                  <a:pt x="56" y="607"/>
                  <a:pt x="54" y="607"/>
                  <a:pt x="52" y="606"/>
                </a:cubicBezTo>
                <a:cubicBezTo>
                  <a:pt x="40" y="603"/>
                  <a:pt x="34" y="590"/>
                  <a:pt x="38" y="579"/>
                </a:cubicBezTo>
                <a:cubicBezTo>
                  <a:pt x="40" y="570"/>
                  <a:pt x="40" y="570"/>
                  <a:pt x="40" y="570"/>
                </a:cubicBezTo>
                <a:cubicBezTo>
                  <a:pt x="44" y="559"/>
                  <a:pt x="56" y="553"/>
                  <a:pt x="68" y="556"/>
                </a:cubicBezTo>
                <a:cubicBezTo>
                  <a:pt x="79" y="560"/>
                  <a:pt x="86" y="572"/>
                  <a:pt x="82" y="584"/>
                </a:cubicBezTo>
                <a:cubicBezTo>
                  <a:pt x="79" y="592"/>
                  <a:pt x="79" y="592"/>
                  <a:pt x="79" y="592"/>
                </a:cubicBezTo>
                <a:cubicBezTo>
                  <a:pt x="76" y="601"/>
                  <a:pt x="68" y="607"/>
                  <a:pt x="58" y="607"/>
                </a:cubicBezTo>
                <a:close/>
                <a:moveTo>
                  <a:pt x="1584" y="570"/>
                </a:moveTo>
                <a:cubicBezTo>
                  <a:pt x="1575" y="570"/>
                  <a:pt x="1566" y="565"/>
                  <a:pt x="1563" y="556"/>
                </a:cubicBezTo>
                <a:cubicBezTo>
                  <a:pt x="1560" y="548"/>
                  <a:pt x="1560" y="548"/>
                  <a:pt x="1560" y="548"/>
                </a:cubicBezTo>
                <a:cubicBezTo>
                  <a:pt x="1556" y="537"/>
                  <a:pt x="1561" y="524"/>
                  <a:pt x="1573" y="520"/>
                </a:cubicBezTo>
                <a:cubicBezTo>
                  <a:pt x="1584" y="515"/>
                  <a:pt x="1597" y="521"/>
                  <a:pt x="1601" y="532"/>
                </a:cubicBezTo>
                <a:cubicBezTo>
                  <a:pt x="1604" y="541"/>
                  <a:pt x="1604" y="541"/>
                  <a:pt x="1604" y="541"/>
                </a:cubicBezTo>
                <a:cubicBezTo>
                  <a:pt x="1608" y="552"/>
                  <a:pt x="1603" y="565"/>
                  <a:pt x="1591" y="569"/>
                </a:cubicBezTo>
                <a:cubicBezTo>
                  <a:pt x="1589" y="570"/>
                  <a:pt x="1586" y="570"/>
                  <a:pt x="1584" y="570"/>
                </a:cubicBezTo>
                <a:close/>
                <a:moveTo>
                  <a:pt x="102" y="498"/>
                </a:moveTo>
                <a:cubicBezTo>
                  <a:pt x="98" y="498"/>
                  <a:pt x="95" y="498"/>
                  <a:pt x="92" y="496"/>
                </a:cubicBezTo>
                <a:cubicBezTo>
                  <a:pt x="81" y="491"/>
                  <a:pt x="77" y="478"/>
                  <a:pt x="82" y="467"/>
                </a:cubicBezTo>
                <a:cubicBezTo>
                  <a:pt x="86" y="459"/>
                  <a:pt x="86" y="459"/>
                  <a:pt x="86" y="459"/>
                </a:cubicBezTo>
                <a:cubicBezTo>
                  <a:pt x="91" y="448"/>
                  <a:pt x="104" y="444"/>
                  <a:pt x="115" y="449"/>
                </a:cubicBezTo>
                <a:cubicBezTo>
                  <a:pt x="126" y="454"/>
                  <a:pt x="130" y="468"/>
                  <a:pt x="125" y="478"/>
                </a:cubicBezTo>
                <a:cubicBezTo>
                  <a:pt x="121" y="486"/>
                  <a:pt x="121" y="486"/>
                  <a:pt x="121" y="486"/>
                </a:cubicBezTo>
                <a:cubicBezTo>
                  <a:pt x="117" y="494"/>
                  <a:pt x="110" y="498"/>
                  <a:pt x="102" y="498"/>
                </a:cubicBezTo>
                <a:close/>
                <a:moveTo>
                  <a:pt x="1535" y="463"/>
                </a:moveTo>
                <a:cubicBezTo>
                  <a:pt x="1527" y="463"/>
                  <a:pt x="1520" y="459"/>
                  <a:pt x="1516" y="452"/>
                </a:cubicBezTo>
                <a:cubicBezTo>
                  <a:pt x="1512" y="445"/>
                  <a:pt x="1512" y="445"/>
                  <a:pt x="1512" y="445"/>
                </a:cubicBezTo>
                <a:cubicBezTo>
                  <a:pt x="1506" y="434"/>
                  <a:pt x="1510" y="421"/>
                  <a:pt x="1520" y="415"/>
                </a:cubicBezTo>
                <a:cubicBezTo>
                  <a:pt x="1531" y="409"/>
                  <a:pt x="1544" y="413"/>
                  <a:pt x="1550" y="423"/>
                </a:cubicBezTo>
                <a:cubicBezTo>
                  <a:pt x="1554" y="431"/>
                  <a:pt x="1554" y="431"/>
                  <a:pt x="1554" y="431"/>
                </a:cubicBezTo>
                <a:cubicBezTo>
                  <a:pt x="1560" y="442"/>
                  <a:pt x="1556" y="455"/>
                  <a:pt x="1546" y="461"/>
                </a:cubicBezTo>
                <a:cubicBezTo>
                  <a:pt x="1542" y="463"/>
                  <a:pt x="1539" y="463"/>
                  <a:pt x="1535" y="463"/>
                </a:cubicBezTo>
                <a:close/>
                <a:moveTo>
                  <a:pt x="160" y="397"/>
                </a:moveTo>
                <a:cubicBezTo>
                  <a:pt x="156" y="397"/>
                  <a:pt x="151" y="396"/>
                  <a:pt x="148" y="393"/>
                </a:cubicBezTo>
                <a:cubicBezTo>
                  <a:pt x="138" y="386"/>
                  <a:pt x="135" y="373"/>
                  <a:pt x="142" y="363"/>
                </a:cubicBezTo>
                <a:cubicBezTo>
                  <a:pt x="147" y="355"/>
                  <a:pt x="147" y="355"/>
                  <a:pt x="147" y="355"/>
                </a:cubicBezTo>
                <a:cubicBezTo>
                  <a:pt x="154" y="345"/>
                  <a:pt x="167" y="343"/>
                  <a:pt x="177" y="350"/>
                </a:cubicBezTo>
                <a:cubicBezTo>
                  <a:pt x="187" y="357"/>
                  <a:pt x="190" y="370"/>
                  <a:pt x="183" y="380"/>
                </a:cubicBezTo>
                <a:cubicBezTo>
                  <a:pt x="178" y="387"/>
                  <a:pt x="178" y="387"/>
                  <a:pt x="178" y="387"/>
                </a:cubicBezTo>
                <a:cubicBezTo>
                  <a:pt x="174" y="393"/>
                  <a:pt x="167" y="397"/>
                  <a:pt x="160" y="397"/>
                </a:cubicBezTo>
                <a:close/>
                <a:moveTo>
                  <a:pt x="1472" y="365"/>
                </a:moveTo>
                <a:cubicBezTo>
                  <a:pt x="1465" y="365"/>
                  <a:pt x="1459" y="362"/>
                  <a:pt x="1454" y="356"/>
                </a:cubicBezTo>
                <a:cubicBezTo>
                  <a:pt x="1449" y="349"/>
                  <a:pt x="1449" y="349"/>
                  <a:pt x="1449" y="349"/>
                </a:cubicBezTo>
                <a:cubicBezTo>
                  <a:pt x="1442" y="340"/>
                  <a:pt x="1444" y="326"/>
                  <a:pt x="1453" y="319"/>
                </a:cubicBezTo>
                <a:cubicBezTo>
                  <a:pt x="1463" y="311"/>
                  <a:pt x="1477" y="313"/>
                  <a:pt x="1484" y="323"/>
                </a:cubicBezTo>
                <a:cubicBezTo>
                  <a:pt x="1489" y="330"/>
                  <a:pt x="1489" y="330"/>
                  <a:pt x="1489" y="330"/>
                </a:cubicBezTo>
                <a:cubicBezTo>
                  <a:pt x="1497" y="339"/>
                  <a:pt x="1495" y="353"/>
                  <a:pt x="1485" y="360"/>
                </a:cubicBezTo>
                <a:cubicBezTo>
                  <a:pt x="1481" y="363"/>
                  <a:pt x="1476" y="365"/>
                  <a:pt x="1472" y="365"/>
                </a:cubicBezTo>
                <a:close/>
                <a:moveTo>
                  <a:pt x="233" y="305"/>
                </a:moveTo>
                <a:cubicBezTo>
                  <a:pt x="227" y="305"/>
                  <a:pt x="222" y="303"/>
                  <a:pt x="218" y="299"/>
                </a:cubicBezTo>
                <a:cubicBezTo>
                  <a:pt x="209" y="291"/>
                  <a:pt x="208" y="277"/>
                  <a:pt x="216" y="268"/>
                </a:cubicBezTo>
                <a:cubicBezTo>
                  <a:pt x="222" y="262"/>
                  <a:pt x="222" y="262"/>
                  <a:pt x="222" y="262"/>
                </a:cubicBezTo>
                <a:cubicBezTo>
                  <a:pt x="231" y="253"/>
                  <a:pt x="245" y="252"/>
                  <a:pt x="253" y="261"/>
                </a:cubicBezTo>
                <a:cubicBezTo>
                  <a:pt x="262" y="269"/>
                  <a:pt x="263" y="283"/>
                  <a:pt x="254" y="292"/>
                </a:cubicBezTo>
                <a:cubicBezTo>
                  <a:pt x="249" y="298"/>
                  <a:pt x="249" y="298"/>
                  <a:pt x="249" y="298"/>
                </a:cubicBezTo>
                <a:cubicBezTo>
                  <a:pt x="244" y="302"/>
                  <a:pt x="238" y="305"/>
                  <a:pt x="233" y="305"/>
                </a:cubicBezTo>
                <a:close/>
                <a:moveTo>
                  <a:pt x="1395" y="277"/>
                </a:moveTo>
                <a:cubicBezTo>
                  <a:pt x="1389" y="277"/>
                  <a:pt x="1384" y="274"/>
                  <a:pt x="1379" y="270"/>
                </a:cubicBezTo>
                <a:cubicBezTo>
                  <a:pt x="1373" y="264"/>
                  <a:pt x="1373" y="264"/>
                  <a:pt x="1373" y="264"/>
                </a:cubicBezTo>
                <a:cubicBezTo>
                  <a:pt x="1365" y="256"/>
                  <a:pt x="1364" y="242"/>
                  <a:pt x="1373" y="233"/>
                </a:cubicBezTo>
                <a:cubicBezTo>
                  <a:pt x="1381" y="225"/>
                  <a:pt x="1395" y="224"/>
                  <a:pt x="1404" y="233"/>
                </a:cubicBezTo>
                <a:cubicBezTo>
                  <a:pt x="1410" y="239"/>
                  <a:pt x="1410" y="239"/>
                  <a:pt x="1410" y="239"/>
                </a:cubicBezTo>
                <a:cubicBezTo>
                  <a:pt x="1419" y="248"/>
                  <a:pt x="1419" y="261"/>
                  <a:pt x="1410" y="270"/>
                </a:cubicBezTo>
                <a:cubicBezTo>
                  <a:pt x="1406" y="274"/>
                  <a:pt x="1400" y="277"/>
                  <a:pt x="1395" y="277"/>
                </a:cubicBezTo>
                <a:close/>
                <a:moveTo>
                  <a:pt x="318" y="224"/>
                </a:moveTo>
                <a:cubicBezTo>
                  <a:pt x="311" y="224"/>
                  <a:pt x="305" y="222"/>
                  <a:pt x="301" y="216"/>
                </a:cubicBezTo>
                <a:cubicBezTo>
                  <a:pt x="293" y="207"/>
                  <a:pt x="294" y="193"/>
                  <a:pt x="304" y="186"/>
                </a:cubicBezTo>
                <a:cubicBezTo>
                  <a:pt x="311" y="180"/>
                  <a:pt x="311" y="180"/>
                  <a:pt x="311" y="180"/>
                </a:cubicBezTo>
                <a:cubicBezTo>
                  <a:pt x="320" y="172"/>
                  <a:pt x="334" y="174"/>
                  <a:pt x="342" y="183"/>
                </a:cubicBezTo>
                <a:cubicBezTo>
                  <a:pt x="349" y="193"/>
                  <a:pt x="348" y="207"/>
                  <a:pt x="338" y="214"/>
                </a:cubicBezTo>
                <a:cubicBezTo>
                  <a:pt x="332" y="219"/>
                  <a:pt x="332" y="219"/>
                  <a:pt x="332" y="219"/>
                </a:cubicBezTo>
                <a:cubicBezTo>
                  <a:pt x="328" y="223"/>
                  <a:pt x="323" y="224"/>
                  <a:pt x="318" y="224"/>
                </a:cubicBezTo>
                <a:close/>
                <a:moveTo>
                  <a:pt x="1306" y="200"/>
                </a:moveTo>
                <a:cubicBezTo>
                  <a:pt x="1301" y="200"/>
                  <a:pt x="1297" y="199"/>
                  <a:pt x="1293" y="196"/>
                </a:cubicBezTo>
                <a:cubicBezTo>
                  <a:pt x="1286" y="191"/>
                  <a:pt x="1286" y="191"/>
                  <a:pt x="1286" y="191"/>
                </a:cubicBezTo>
                <a:cubicBezTo>
                  <a:pt x="1276" y="184"/>
                  <a:pt x="1274" y="170"/>
                  <a:pt x="1281" y="160"/>
                </a:cubicBezTo>
                <a:cubicBezTo>
                  <a:pt x="1288" y="151"/>
                  <a:pt x="1302" y="148"/>
                  <a:pt x="1312" y="155"/>
                </a:cubicBezTo>
                <a:cubicBezTo>
                  <a:pt x="1319" y="161"/>
                  <a:pt x="1319" y="161"/>
                  <a:pt x="1319" y="161"/>
                </a:cubicBezTo>
                <a:cubicBezTo>
                  <a:pt x="1329" y="168"/>
                  <a:pt x="1331" y="182"/>
                  <a:pt x="1323" y="191"/>
                </a:cubicBezTo>
                <a:cubicBezTo>
                  <a:pt x="1319" y="197"/>
                  <a:pt x="1313" y="200"/>
                  <a:pt x="1306" y="200"/>
                </a:cubicBezTo>
                <a:close/>
                <a:moveTo>
                  <a:pt x="414" y="157"/>
                </a:moveTo>
                <a:cubicBezTo>
                  <a:pt x="406" y="157"/>
                  <a:pt x="399" y="153"/>
                  <a:pt x="395" y="146"/>
                </a:cubicBezTo>
                <a:cubicBezTo>
                  <a:pt x="389" y="136"/>
                  <a:pt x="392" y="122"/>
                  <a:pt x="402" y="116"/>
                </a:cubicBezTo>
                <a:cubicBezTo>
                  <a:pt x="410" y="112"/>
                  <a:pt x="410" y="112"/>
                  <a:pt x="410" y="112"/>
                </a:cubicBezTo>
                <a:cubicBezTo>
                  <a:pt x="420" y="106"/>
                  <a:pt x="434" y="109"/>
                  <a:pt x="440" y="120"/>
                </a:cubicBezTo>
                <a:cubicBezTo>
                  <a:pt x="446" y="130"/>
                  <a:pt x="443" y="143"/>
                  <a:pt x="432" y="149"/>
                </a:cubicBezTo>
                <a:cubicBezTo>
                  <a:pt x="425" y="154"/>
                  <a:pt x="425" y="154"/>
                  <a:pt x="425" y="154"/>
                </a:cubicBezTo>
                <a:cubicBezTo>
                  <a:pt x="421" y="156"/>
                  <a:pt x="417" y="157"/>
                  <a:pt x="414" y="157"/>
                </a:cubicBezTo>
                <a:close/>
                <a:moveTo>
                  <a:pt x="1207" y="138"/>
                </a:moveTo>
                <a:cubicBezTo>
                  <a:pt x="1203" y="138"/>
                  <a:pt x="1200" y="137"/>
                  <a:pt x="1197" y="135"/>
                </a:cubicBezTo>
                <a:cubicBezTo>
                  <a:pt x="1189" y="131"/>
                  <a:pt x="1189" y="131"/>
                  <a:pt x="1189" y="131"/>
                </a:cubicBezTo>
                <a:cubicBezTo>
                  <a:pt x="1178" y="125"/>
                  <a:pt x="1174" y="112"/>
                  <a:pt x="1180" y="101"/>
                </a:cubicBezTo>
                <a:cubicBezTo>
                  <a:pt x="1185" y="91"/>
                  <a:pt x="1199" y="87"/>
                  <a:pt x="1209" y="92"/>
                </a:cubicBezTo>
                <a:cubicBezTo>
                  <a:pt x="1217" y="96"/>
                  <a:pt x="1217" y="96"/>
                  <a:pt x="1217" y="96"/>
                </a:cubicBezTo>
                <a:cubicBezTo>
                  <a:pt x="1228" y="102"/>
                  <a:pt x="1232" y="115"/>
                  <a:pt x="1226" y="126"/>
                </a:cubicBezTo>
                <a:cubicBezTo>
                  <a:pt x="1222" y="133"/>
                  <a:pt x="1215" y="138"/>
                  <a:pt x="1207" y="138"/>
                </a:cubicBezTo>
                <a:close/>
                <a:moveTo>
                  <a:pt x="518" y="104"/>
                </a:moveTo>
                <a:cubicBezTo>
                  <a:pt x="510" y="104"/>
                  <a:pt x="502" y="99"/>
                  <a:pt x="498" y="91"/>
                </a:cubicBezTo>
                <a:cubicBezTo>
                  <a:pt x="493" y="79"/>
                  <a:pt x="499" y="67"/>
                  <a:pt x="510" y="62"/>
                </a:cubicBezTo>
                <a:cubicBezTo>
                  <a:pt x="518" y="59"/>
                  <a:pt x="518" y="59"/>
                  <a:pt x="518" y="59"/>
                </a:cubicBezTo>
                <a:cubicBezTo>
                  <a:pt x="529" y="54"/>
                  <a:pt x="542" y="59"/>
                  <a:pt x="547" y="71"/>
                </a:cubicBezTo>
                <a:cubicBezTo>
                  <a:pt x="551" y="82"/>
                  <a:pt x="546" y="95"/>
                  <a:pt x="535" y="99"/>
                </a:cubicBezTo>
                <a:cubicBezTo>
                  <a:pt x="527" y="102"/>
                  <a:pt x="527" y="102"/>
                  <a:pt x="527" y="102"/>
                </a:cubicBezTo>
                <a:cubicBezTo>
                  <a:pt x="524" y="104"/>
                  <a:pt x="521" y="104"/>
                  <a:pt x="518" y="104"/>
                </a:cubicBezTo>
                <a:close/>
                <a:moveTo>
                  <a:pt x="1100" y="90"/>
                </a:moveTo>
                <a:cubicBezTo>
                  <a:pt x="1097" y="90"/>
                  <a:pt x="1095" y="90"/>
                  <a:pt x="1092" y="89"/>
                </a:cubicBezTo>
                <a:cubicBezTo>
                  <a:pt x="1084" y="86"/>
                  <a:pt x="1084" y="86"/>
                  <a:pt x="1084" y="86"/>
                </a:cubicBezTo>
                <a:cubicBezTo>
                  <a:pt x="1073" y="82"/>
                  <a:pt x="1067" y="69"/>
                  <a:pt x="1071" y="58"/>
                </a:cubicBezTo>
                <a:cubicBezTo>
                  <a:pt x="1075" y="47"/>
                  <a:pt x="1087" y="41"/>
                  <a:pt x="1099" y="44"/>
                </a:cubicBezTo>
                <a:cubicBezTo>
                  <a:pt x="1107" y="47"/>
                  <a:pt x="1107" y="47"/>
                  <a:pt x="1107" y="47"/>
                </a:cubicBezTo>
                <a:cubicBezTo>
                  <a:pt x="1119" y="52"/>
                  <a:pt x="1125" y="64"/>
                  <a:pt x="1120" y="76"/>
                </a:cubicBezTo>
                <a:cubicBezTo>
                  <a:pt x="1117" y="84"/>
                  <a:pt x="1109" y="90"/>
                  <a:pt x="1100" y="90"/>
                </a:cubicBezTo>
                <a:close/>
                <a:moveTo>
                  <a:pt x="630" y="67"/>
                </a:moveTo>
                <a:cubicBezTo>
                  <a:pt x="620" y="67"/>
                  <a:pt x="611" y="61"/>
                  <a:pt x="608" y="51"/>
                </a:cubicBezTo>
                <a:cubicBezTo>
                  <a:pt x="605" y="39"/>
                  <a:pt x="612" y="27"/>
                  <a:pt x="624" y="24"/>
                </a:cubicBezTo>
                <a:cubicBezTo>
                  <a:pt x="633" y="22"/>
                  <a:pt x="633" y="22"/>
                  <a:pt x="633" y="22"/>
                </a:cubicBezTo>
                <a:cubicBezTo>
                  <a:pt x="645" y="19"/>
                  <a:pt x="656" y="26"/>
                  <a:pt x="659" y="38"/>
                </a:cubicBezTo>
                <a:cubicBezTo>
                  <a:pt x="662" y="50"/>
                  <a:pt x="655" y="62"/>
                  <a:pt x="643" y="64"/>
                </a:cubicBezTo>
                <a:cubicBezTo>
                  <a:pt x="635" y="66"/>
                  <a:pt x="635" y="66"/>
                  <a:pt x="635" y="66"/>
                </a:cubicBezTo>
                <a:cubicBezTo>
                  <a:pt x="633" y="67"/>
                  <a:pt x="631" y="67"/>
                  <a:pt x="630" y="67"/>
                </a:cubicBezTo>
                <a:close/>
                <a:moveTo>
                  <a:pt x="987" y="59"/>
                </a:moveTo>
                <a:cubicBezTo>
                  <a:pt x="986" y="59"/>
                  <a:pt x="984" y="58"/>
                  <a:pt x="983" y="58"/>
                </a:cubicBezTo>
                <a:cubicBezTo>
                  <a:pt x="974" y="56"/>
                  <a:pt x="974" y="56"/>
                  <a:pt x="974" y="56"/>
                </a:cubicBezTo>
                <a:cubicBezTo>
                  <a:pt x="962" y="54"/>
                  <a:pt x="955" y="43"/>
                  <a:pt x="957" y="31"/>
                </a:cubicBezTo>
                <a:cubicBezTo>
                  <a:pt x="959" y="19"/>
                  <a:pt x="971" y="11"/>
                  <a:pt x="983" y="13"/>
                </a:cubicBezTo>
                <a:cubicBezTo>
                  <a:pt x="991" y="15"/>
                  <a:pt x="991" y="15"/>
                  <a:pt x="991" y="15"/>
                </a:cubicBezTo>
                <a:cubicBezTo>
                  <a:pt x="1003" y="18"/>
                  <a:pt x="1011" y="29"/>
                  <a:pt x="1008" y="41"/>
                </a:cubicBezTo>
                <a:cubicBezTo>
                  <a:pt x="1006" y="51"/>
                  <a:pt x="997" y="59"/>
                  <a:pt x="987" y="59"/>
                </a:cubicBezTo>
                <a:close/>
                <a:moveTo>
                  <a:pt x="745" y="47"/>
                </a:moveTo>
                <a:cubicBezTo>
                  <a:pt x="734" y="47"/>
                  <a:pt x="724" y="38"/>
                  <a:pt x="723" y="27"/>
                </a:cubicBezTo>
                <a:cubicBezTo>
                  <a:pt x="722" y="15"/>
                  <a:pt x="731" y="4"/>
                  <a:pt x="743" y="3"/>
                </a:cubicBezTo>
                <a:cubicBezTo>
                  <a:pt x="752" y="2"/>
                  <a:pt x="752" y="2"/>
                  <a:pt x="752" y="2"/>
                </a:cubicBezTo>
                <a:cubicBezTo>
                  <a:pt x="764" y="1"/>
                  <a:pt x="774" y="10"/>
                  <a:pt x="775" y="22"/>
                </a:cubicBezTo>
                <a:cubicBezTo>
                  <a:pt x="776" y="34"/>
                  <a:pt x="768" y="45"/>
                  <a:pt x="756" y="46"/>
                </a:cubicBezTo>
                <a:cubicBezTo>
                  <a:pt x="747" y="47"/>
                  <a:pt x="747" y="47"/>
                  <a:pt x="747" y="47"/>
                </a:cubicBezTo>
                <a:cubicBezTo>
                  <a:pt x="746" y="47"/>
                  <a:pt x="746" y="47"/>
                  <a:pt x="745" y="47"/>
                </a:cubicBezTo>
                <a:close/>
                <a:moveTo>
                  <a:pt x="871" y="44"/>
                </a:moveTo>
                <a:cubicBezTo>
                  <a:pt x="870" y="44"/>
                  <a:pt x="870" y="44"/>
                  <a:pt x="870" y="44"/>
                </a:cubicBezTo>
                <a:cubicBezTo>
                  <a:pt x="861" y="43"/>
                  <a:pt x="861" y="43"/>
                  <a:pt x="861" y="43"/>
                </a:cubicBezTo>
                <a:cubicBezTo>
                  <a:pt x="849" y="43"/>
                  <a:pt x="840" y="33"/>
                  <a:pt x="840" y="21"/>
                </a:cubicBezTo>
                <a:cubicBezTo>
                  <a:pt x="841" y="8"/>
                  <a:pt x="851" y="0"/>
                  <a:pt x="863" y="0"/>
                </a:cubicBezTo>
                <a:cubicBezTo>
                  <a:pt x="872" y="0"/>
                  <a:pt x="872" y="0"/>
                  <a:pt x="872" y="0"/>
                </a:cubicBezTo>
                <a:cubicBezTo>
                  <a:pt x="884" y="1"/>
                  <a:pt x="893" y="11"/>
                  <a:pt x="893" y="23"/>
                </a:cubicBezTo>
                <a:cubicBezTo>
                  <a:pt x="892" y="35"/>
                  <a:pt x="882" y="44"/>
                  <a:pt x="87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 name="Rectangle 51"/>
          <p:cNvSpPr>
            <a:spLocks noChangeArrowheads="1"/>
          </p:cNvSpPr>
          <p:nvPr userDrawn="1"/>
        </p:nvSpPr>
        <p:spPr bwMode="auto">
          <a:xfrm flipH="1">
            <a:off x="1287463" y="4573587"/>
            <a:ext cx="987425" cy="557213"/>
          </a:xfrm>
          <a:prstGeom prst="rect">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52"/>
          <p:cNvSpPr>
            <a:spLocks/>
          </p:cNvSpPr>
          <p:nvPr userDrawn="1"/>
        </p:nvSpPr>
        <p:spPr bwMode="auto">
          <a:xfrm flipH="1">
            <a:off x="1287463" y="4573587"/>
            <a:ext cx="493713" cy="557213"/>
          </a:xfrm>
          <a:custGeom>
            <a:avLst/>
            <a:gdLst>
              <a:gd name="T0" fmla="*/ 311 w 311"/>
              <a:gd name="T1" fmla="*/ 351 h 351"/>
              <a:gd name="T2" fmla="*/ 0 w 311"/>
              <a:gd name="T3" fmla="*/ 175 h 351"/>
              <a:gd name="T4" fmla="*/ 311 w 311"/>
              <a:gd name="T5" fmla="*/ 0 h 351"/>
              <a:gd name="T6" fmla="*/ 311 w 311"/>
              <a:gd name="T7" fmla="*/ 351 h 351"/>
            </a:gdLst>
            <a:ahLst/>
            <a:cxnLst>
              <a:cxn ang="0">
                <a:pos x="T0" y="T1"/>
              </a:cxn>
              <a:cxn ang="0">
                <a:pos x="T2" y="T3"/>
              </a:cxn>
              <a:cxn ang="0">
                <a:pos x="T4" y="T5"/>
              </a:cxn>
              <a:cxn ang="0">
                <a:pos x="T6" y="T7"/>
              </a:cxn>
            </a:cxnLst>
            <a:rect l="0" t="0" r="r" b="b"/>
            <a:pathLst>
              <a:path w="311" h="351">
                <a:moveTo>
                  <a:pt x="311" y="351"/>
                </a:moveTo>
                <a:lnTo>
                  <a:pt x="0" y="175"/>
                </a:lnTo>
                <a:lnTo>
                  <a:pt x="311" y="0"/>
                </a:lnTo>
                <a:lnTo>
                  <a:pt x="311" y="351"/>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 name="Freeform 53"/>
          <p:cNvSpPr>
            <a:spLocks/>
          </p:cNvSpPr>
          <p:nvPr userDrawn="1"/>
        </p:nvSpPr>
        <p:spPr bwMode="auto">
          <a:xfrm flipH="1">
            <a:off x="1781175" y="4573587"/>
            <a:ext cx="493713" cy="557213"/>
          </a:xfrm>
          <a:custGeom>
            <a:avLst/>
            <a:gdLst>
              <a:gd name="T0" fmla="*/ 0 w 311"/>
              <a:gd name="T1" fmla="*/ 351 h 351"/>
              <a:gd name="T2" fmla="*/ 311 w 311"/>
              <a:gd name="T3" fmla="*/ 175 h 351"/>
              <a:gd name="T4" fmla="*/ 0 w 311"/>
              <a:gd name="T5" fmla="*/ 0 h 351"/>
              <a:gd name="T6" fmla="*/ 0 w 311"/>
              <a:gd name="T7" fmla="*/ 351 h 351"/>
            </a:gdLst>
            <a:ahLst/>
            <a:cxnLst>
              <a:cxn ang="0">
                <a:pos x="T0" y="T1"/>
              </a:cxn>
              <a:cxn ang="0">
                <a:pos x="T2" y="T3"/>
              </a:cxn>
              <a:cxn ang="0">
                <a:pos x="T4" y="T5"/>
              </a:cxn>
              <a:cxn ang="0">
                <a:pos x="T6" y="T7"/>
              </a:cxn>
            </a:cxnLst>
            <a:rect l="0" t="0" r="r" b="b"/>
            <a:pathLst>
              <a:path w="311" h="351">
                <a:moveTo>
                  <a:pt x="0" y="351"/>
                </a:moveTo>
                <a:lnTo>
                  <a:pt x="311" y="175"/>
                </a:lnTo>
                <a:lnTo>
                  <a:pt x="0" y="0"/>
                </a:lnTo>
                <a:lnTo>
                  <a:pt x="0" y="351"/>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 name="Freeform 54"/>
          <p:cNvSpPr>
            <a:spLocks/>
          </p:cNvSpPr>
          <p:nvPr userDrawn="1"/>
        </p:nvSpPr>
        <p:spPr bwMode="auto">
          <a:xfrm flipH="1">
            <a:off x="1287463" y="4573587"/>
            <a:ext cx="987425" cy="406400"/>
          </a:xfrm>
          <a:custGeom>
            <a:avLst/>
            <a:gdLst>
              <a:gd name="T0" fmla="*/ 622 w 622"/>
              <a:gd name="T1" fmla="*/ 0 h 256"/>
              <a:gd name="T2" fmla="*/ 311 w 622"/>
              <a:gd name="T3" fmla="*/ 256 h 256"/>
              <a:gd name="T4" fmla="*/ 0 w 622"/>
              <a:gd name="T5" fmla="*/ 0 h 256"/>
              <a:gd name="T6" fmla="*/ 622 w 622"/>
              <a:gd name="T7" fmla="*/ 0 h 256"/>
            </a:gdLst>
            <a:ahLst/>
            <a:cxnLst>
              <a:cxn ang="0">
                <a:pos x="T0" y="T1"/>
              </a:cxn>
              <a:cxn ang="0">
                <a:pos x="T2" y="T3"/>
              </a:cxn>
              <a:cxn ang="0">
                <a:pos x="T4" y="T5"/>
              </a:cxn>
              <a:cxn ang="0">
                <a:pos x="T6" y="T7"/>
              </a:cxn>
            </a:cxnLst>
            <a:rect l="0" t="0" r="r" b="b"/>
            <a:pathLst>
              <a:path w="622" h="256">
                <a:moveTo>
                  <a:pt x="622" y="0"/>
                </a:moveTo>
                <a:lnTo>
                  <a:pt x="311" y="256"/>
                </a:lnTo>
                <a:lnTo>
                  <a:pt x="0" y="0"/>
                </a:lnTo>
                <a:lnTo>
                  <a:pt x="6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 name="Freeform 56"/>
          <p:cNvSpPr>
            <a:spLocks/>
          </p:cNvSpPr>
          <p:nvPr userDrawn="1"/>
        </p:nvSpPr>
        <p:spPr bwMode="auto">
          <a:xfrm flipH="1">
            <a:off x="1287463" y="4573587"/>
            <a:ext cx="493713" cy="557213"/>
          </a:xfrm>
          <a:custGeom>
            <a:avLst/>
            <a:gdLst>
              <a:gd name="T0" fmla="*/ 311 w 311"/>
              <a:gd name="T1" fmla="*/ 351 h 351"/>
              <a:gd name="T2" fmla="*/ 0 w 311"/>
              <a:gd name="T3" fmla="*/ 175 h 351"/>
              <a:gd name="T4" fmla="*/ 311 w 311"/>
              <a:gd name="T5" fmla="*/ 0 h 351"/>
              <a:gd name="T6" fmla="*/ 311 w 311"/>
              <a:gd name="T7" fmla="*/ 351 h 351"/>
            </a:gdLst>
            <a:ahLst/>
            <a:cxnLst>
              <a:cxn ang="0">
                <a:pos x="T0" y="T1"/>
              </a:cxn>
              <a:cxn ang="0">
                <a:pos x="T2" y="T3"/>
              </a:cxn>
              <a:cxn ang="0">
                <a:pos x="T4" y="T5"/>
              </a:cxn>
              <a:cxn ang="0">
                <a:pos x="T6" y="T7"/>
              </a:cxn>
            </a:cxnLst>
            <a:rect l="0" t="0" r="r" b="b"/>
            <a:pathLst>
              <a:path w="311" h="351">
                <a:moveTo>
                  <a:pt x="311" y="351"/>
                </a:moveTo>
                <a:lnTo>
                  <a:pt x="0" y="175"/>
                </a:lnTo>
                <a:lnTo>
                  <a:pt x="311" y="0"/>
                </a:lnTo>
                <a:lnTo>
                  <a:pt x="311" y="351"/>
                </a:ln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 name="Freeform 57"/>
          <p:cNvSpPr>
            <a:spLocks/>
          </p:cNvSpPr>
          <p:nvPr userDrawn="1"/>
        </p:nvSpPr>
        <p:spPr bwMode="auto">
          <a:xfrm flipH="1">
            <a:off x="1781175" y="4573587"/>
            <a:ext cx="493713" cy="557213"/>
          </a:xfrm>
          <a:custGeom>
            <a:avLst/>
            <a:gdLst>
              <a:gd name="T0" fmla="*/ 0 w 311"/>
              <a:gd name="T1" fmla="*/ 351 h 351"/>
              <a:gd name="T2" fmla="*/ 311 w 311"/>
              <a:gd name="T3" fmla="*/ 175 h 351"/>
              <a:gd name="T4" fmla="*/ 0 w 311"/>
              <a:gd name="T5" fmla="*/ 0 h 351"/>
              <a:gd name="T6" fmla="*/ 0 w 311"/>
              <a:gd name="T7" fmla="*/ 351 h 351"/>
            </a:gdLst>
            <a:ahLst/>
            <a:cxnLst>
              <a:cxn ang="0">
                <a:pos x="T0" y="T1"/>
              </a:cxn>
              <a:cxn ang="0">
                <a:pos x="T2" y="T3"/>
              </a:cxn>
              <a:cxn ang="0">
                <a:pos x="T4" y="T5"/>
              </a:cxn>
              <a:cxn ang="0">
                <a:pos x="T6" y="T7"/>
              </a:cxn>
            </a:cxnLst>
            <a:rect l="0" t="0" r="r" b="b"/>
            <a:pathLst>
              <a:path w="311" h="351">
                <a:moveTo>
                  <a:pt x="0" y="351"/>
                </a:moveTo>
                <a:lnTo>
                  <a:pt x="311" y="175"/>
                </a:lnTo>
                <a:lnTo>
                  <a:pt x="0" y="0"/>
                </a:lnTo>
                <a:lnTo>
                  <a:pt x="0" y="351"/>
                </a:ln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 name="Freeform 58"/>
          <p:cNvSpPr>
            <a:spLocks/>
          </p:cNvSpPr>
          <p:nvPr userDrawn="1"/>
        </p:nvSpPr>
        <p:spPr bwMode="auto">
          <a:xfrm flipH="1">
            <a:off x="1287463" y="4573587"/>
            <a:ext cx="987425" cy="406400"/>
          </a:xfrm>
          <a:custGeom>
            <a:avLst/>
            <a:gdLst>
              <a:gd name="T0" fmla="*/ 622 w 622"/>
              <a:gd name="T1" fmla="*/ 0 h 256"/>
              <a:gd name="T2" fmla="*/ 311 w 622"/>
              <a:gd name="T3" fmla="*/ 256 h 256"/>
              <a:gd name="T4" fmla="*/ 0 w 622"/>
              <a:gd name="T5" fmla="*/ 0 h 256"/>
              <a:gd name="T6" fmla="*/ 622 w 622"/>
              <a:gd name="T7" fmla="*/ 0 h 256"/>
            </a:gdLst>
            <a:ahLst/>
            <a:cxnLst>
              <a:cxn ang="0">
                <a:pos x="T0" y="T1"/>
              </a:cxn>
              <a:cxn ang="0">
                <a:pos x="T2" y="T3"/>
              </a:cxn>
              <a:cxn ang="0">
                <a:pos x="T4" y="T5"/>
              </a:cxn>
              <a:cxn ang="0">
                <a:pos x="T6" y="T7"/>
              </a:cxn>
            </a:cxnLst>
            <a:rect l="0" t="0" r="r" b="b"/>
            <a:pathLst>
              <a:path w="622" h="256">
                <a:moveTo>
                  <a:pt x="622" y="0"/>
                </a:moveTo>
                <a:lnTo>
                  <a:pt x="311" y="256"/>
                </a:lnTo>
                <a:lnTo>
                  <a:pt x="0" y="0"/>
                </a:lnTo>
                <a:lnTo>
                  <a:pt x="622" y="0"/>
                </a:ln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5" name="Rectangle 59"/>
          <p:cNvSpPr>
            <a:spLocks noChangeArrowheads="1"/>
          </p:cNvSpPr>
          <p:nvPr userDrawn="1"/>
        </p:nvSpPr>
        <p:spPr bwMode="auto">
          <a:xfrm flipH="1">
            <a:off x="3490913" y="4905375"/>
            <a:ext cx="711200" cy="309563"/>
          </a:xfrm>
          <a:prstGeom prst="rect">
            <a:avLst/>
          </a:pr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6" name="Rectangle 60"/>
          <p:cNvSpPr>
            <a:spLocks noChangeArrowheads="1"/>
          </p:cNvSpPr>
          <p:nvPr userDrawn="1"/>
        </p:nvSpPr>
        <p:spPr bwMode="auto">
          <a:xfrm flipH="1">
            <a:off x="3400426" y="5141912"/>
            <a:ext cx="892175" cy="73025"/>
          </a:xfrm>
          <a:prstGeom prst="rect">
            <a:avLst/>
          </a:pr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7" name="Freeform 61"/>
          <p:cNvSpPr>
            <a:spLocks/>
          </p:cNvSpPr>
          <p:nvPr userDrawn="1"/>
        </p:nvSpPr>
        <p:spPr bwMode="auto">
          <a:xfrm flipH="1">
            <a:off x="2624138" y="3178175"/>
            <a:ext cx="2444750" cy="1782763"/>
          </a:xfrm>
          <a:custGeom>
            <a:avLst/>
            <a:gdLst>
              <a:gd name="T0" fmla="*/ 1540 w 1540"/>
              <a:gd name="T1" fmla="*/ 1077 h 1123"/>
              <a:gd name="T2" fmla="*/ 1494 w 1540"/>
              <a:gd name="T3" fmla="*/ 1123 h 1123"/>
              <a:gd name="T4" fmla="*/ 46 w 1540"/>
              <a:gd name="T5" fmla="*/ 1123 h 1123"/>
              <a:gd name="T6" fmla="*/ 0 w 1540"/>
              <a:gd name="T7" fmla="*/ 1077 h 1123"/>
              <a:gd name="T8" fmla="*/ 0 w 1540"/>
              <a:gd name="T9" fmla="*/ 46 h 1123"/>
              <a:gd name="T10" fmla="*/ 46 w 1540"/>
              <a:gd name="T11" fmla="*/ 0 h 1123"/>
              <a:gd name="T12" fmla="*/ 1494 w 1540"/>
              <a:gd name="T13" fmla="*/ 0 h 1123"/>
              <a:gd name="T14" fmla="*/ 1540 w 1540"/>
              <a:gd name="T15" fmla="*/ 46 h 1123"/>
              <a:gd name="T16" fmla="*/ 1540 w 1540"/>
              <a:gd name="T17" fmla="*/ 1077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0" h="1123">
                <a:moveTo>
                  <a:pt x="1540" y="1077"/>
                </a:moveTo>
                <a:cubicBezTo>
                  <a:pt x="1540" y="1102"/>
                  <a:pt x="1520" y="1123"/>
                  <a:pt x="1494" y="1123"/>
                </a:cubicBezTo>
                <a:cubicBezTo>
                  <a:pt x="46" y="1123"/>
                  <a:pt x="46" y="1123"/>
                  <a:pt x="46" y="1123"/>
                </a:cubicBezTo>
                <a:cubicBezTo>
                  <a:pt x="20" y="1123"/>
                  <a:pt x="0" y="1102"/>
                  <a:pt x="0" y="1077"/>
                </a:cubicBezTo>
                <a:cubicBezTo>
                  <a:pt x="0" y="46"/>
                  <a:pt x="0" y="46"/>
                  <a:pt x="0" y="46"/>
                </a:cubicBezTo>
                <a:cubicBezTo>
                  <a:pt x="0" y="20"/>
                  <a:pt x="20" y="0"/>
                  <a:pt x="46" y="0"/>
                </a:cubicBezTo>
                <a:cubicBezTo>
                  <a:pt x="1494" y="0"/>
                  <a:pt x="1494" y="0"/>
                  <a:pt x="1494" y="0"/>
                </a:cubicBezTo>
                <a:cubicBezTo>
                  <a:pt x="1520" y="0"/>
                  <a:pt x="1540" y="20"/>
                  <a:pt x="1540" y="46"/>
                </a:cubicBezTo>
                <a:lnTo>
                  <a:pt x="1540" y="1077"/>
                </a:ln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8" name="Freeform 62"/>
          <p:cNvSpPr>
            <a:spLocks/>
          </p:cNvSpPr>
          <p:nvPr userDrawn="1"/>
        </p:nvSpPr>
        <p:spPr bwMode="auto">
          <a:xfrm flipH="1">
            <a:off x="2624138" y="3178175"/>
            <a:ext cx="2444750" cy="1550988"/>
          </a:xfrm>
          <a:custGeom>
            <a:avLst/>
            <a:gdLst>
              <a:gd name="T0" fmla="*/ 1540 w 1540"/>
              <a:gd name="T1" fmla="*/ 977 h 977"/>
              <a:gd name="T2" fmla="*/ 1540 w 1540"/>
              <a:gd name="T3" fmla="*/ 46 h 977"/>
              <a:gd name="T4" fmla="*/ 1494 w 1540"/>
              <a:gd name="T5" fmla="*/ 0 h 977"/>
              <a:gd name="T6" fmla="*/ 46 w 1540"/>
              <a:gd name="T7" fmla="*/ 0 h 977"/>
              <a:gd name="T8" fmla="*/ 0 w 1540"/>
              <a:gd name="T9" fmla="*/ 46 h 977"/>
              <a:gd name="T10" fmla="*/ 0 w 1540"/>
              <a:gd name="T11" fmla="*/ 977 h 977"/>
              <a:gd name="T12" fmla="*/ 1540 w 1540"/>
              <a:gd name="T13" fmla="*/ 977 h 977"/>
            </a:gdLst>
            <a:ahLst/>
            <a:cxnLst>
              <a:cxn ang="0">
                <a:pos x="T0" y="T1"/>
              </a:cxn>
              <a:cxn ang="0">
                <a:pos x="T2" y="T3"/>
              </a:cxn>
              <a:cxn ang="0">
                <a:pos x="T4" y="T5"/>
              </a:cxn>
              <a:cxn ang="0">
                <a:pos x="T6" y="T7"/>
              </a:cxn>
              <a:cxn ang="0">
                <a:pos x="T8" y="T9"/>
              </a:cxn>
              <a:cxn ang="0">
                <a:pos x="T10" y="T11"/>
              </a:cxn>
              <a:cxn ang="0">
                <a:pos x="T12" y="T13"/>
              </a:cxn>
            </a:cxnLst>
            <a:rect l="0" t="0" r="r" b="b"/>
            <a:pathLst>
              <a:path w="1540" h="977">
                <a:moveTo>
                  <a:pt x="1540" y="977"/>
                </a:moveTo>
                <a:cubicBezTo>
                  <a:pt x="1540" y="46"/>
                  <a:pt x="1540" y="46"/>
                  <a:pt x="1540" y="46"/>
                </a:cubicBezTo>
                <a:cubicBezTo>
                  <a:pt x="1540" y="20"/>
                  <a:pt x="1520" y="0"/>
                  <a:pt x="1494" y="0"/>
                </a:cubicBezTo>
                <a:cubicBezTo>
                  <a:pt x="46" y="0"/>
                  <a:pt x="46" y="0"/>
                  <a:pt x="46" y="0"/>
                </a:cubicBezTo>
                <a:cubicBezTo>
                  <a:pt x="20" y="0"/>
                  <a:pt x="0" y="20"/>
                  <a:pt x="0" y="46"/>
                </a:cubicBezTo>
                <a:cubicBezTo>
                  <a:pt x="0" y="977"/>
                  <a:pt x="0" y="977"/>
                  <a:pt x="0" y="977"/>
                </a:cubicBezTo>
                <a:lnTo>
                  <a:pt x="1540" y="9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9" name="Rectangle 63"/>
          <p:cNvSpPr>
            <a:spLocks noChangeArrowheads="1"/>
          </p:cNvSpPr>
          <p:nvPr userDrawn="1"/>
        </p:nvSpPr>
        <p:spPr bwMode="auto">
          <a:xfrm flipH="1">
            <a:off x="2727326" y="3281362"/>
            <a:ext cx="2238375" cy="138588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40" name="Rectangle 64"/>
          <p:cNvSpPr>
            <a:spLocks noChangeArrowheads="1"/>
          </p:cNvSpPr>
          <p:nvPr userDrawn="1"/>
        </p:nvSpPr>
        <p:spPr bwMode="auto">
          <a:xfrm flipH="1">
            <a:off x="2727326" y="3281362"/>
            <a:ext cx="2238375" cy="115888"/>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1" name="Rectangle 65"/>
          <p:cNvSpPr>
            <a:spLocks noChangeArrowheads="1"/>
          </p:cNvSpPr>
          <p:nvPr userDrawn="1"/>
        </p:nvSpPr>
        <p:spPr bwMode="auto">
          <a:xfrm flipH="1">
            <a:off x="3014663" y="3313112"/>
            <a:ext cx="1663700" cy="52388"/>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2" name="Oval 66"/>
          <p:cNvSpPr>
            <a:spLocks noChangeArrowheads="1"/>
          </p:cNvSpPr>
          <p:nvPr userDrawn="1"/>
        </p:nvSpPr>
        <p:spPr bwMode="auto">
          <a:xfrm flipH="1">
            <a:off x="4887913" y="3313112"/>
            <a:ext cx="53975" cy="52388"/>
          </a:xfrm>
          <a:prstGeom prst="ellipse">
            <a:avLst/>
          </a:prstGeom>
          <a:solidFill>
            <a:srgbClr val="FF1D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3" name="Oval 67"/>
          <p:cNvSpPr>
            <a:spLocks noChangeArrowheads="1"/>
          </p:cNvSpPr>
          <p:nvPr userDrawn="1"/>
        </p:nvSpPr>
        <p:spPr bwMode="auto">
          <a:xfrm flipH="1">
            <a:off x="4811713" y="3313112"/>
            <a:ext cx="53975" cy="52388"/>
          </a:xfrm>
          <a:prstGeom prst="ellipse">
            <a:avLst/>
          </a:prstGeom>
          <a:solidFill>
            <a:srgbClr val="FBED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4" name="Oval 68"/>
          <p:cNvSpPr>
            <a:spLocks noChangeArrowheads="1"/>
          </p:cNvSpPr>
          <p:nvPr userDrawn="1"/>
        </p:nvSpPr>
        <p:spPr bwMode="auto">
          <a:xfrm flipH="1">
            <a:off x="4735513" y="3313112"/>
            <a:ext cx="53975" cy="52388"/>
          </a:xfrm>
          <a:prstGeom prst="ellipse">
            <a:avLst/>
          </a:prstGeom>
          <a:solidFill>
            <a:srgbClr val="8BC5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5" name="Rectangle 69"/>
          <p:cNvSpPr>
            <a:spLocks noChangeArrowheads="1"/>
          </p:cNvSpPr>
          <p:nvPr userDrawn="1"/>
        </p:nvSpPr>
        <p:spPr bwMode="auto">
          <a:xfrm flipH="1">
            <a:off x="2862263" y="3313112"/>
            <a:ext cx="125413" cy="635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6" name="Rectangle 70"/>
          <p:cNvSpPr>
            <a:spLocks noChangeArrowheads="1"/>
          </p:cNvSpPr>
          <p:nvPr userDrawn="1"/>
        </p:nvSpPr>
        <p:spPr bwMode="auto">
          <a:xfrm flipH="1">
            <a:off x="2862263" y="3328987"/>
            <a:ext cx="125413" cy="635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7" name="Rectangle 71"/>
          <p:cNvSpPr>
            <a:spLocks noChangeArrowheads="1"/>
          </p:cNvSpPr>
          <p:nvPr userDrawn="1"/>
        </p:nvSpPr>
        <p:spPr bwMode="auto">
          <a:xfrm flipH="1">
            <a:off x="2862263" y="3343275"/>
            <a:ext cx="125413" cy="7938"/>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8" name="Rectangle 72"/>
          <p:cNvSpPr>
            <a:spLocks noChangeArrowheads="1"/>
          </p:cNvSpPr>
          <p:nvPr userDrawn="1"/>
        </p:nvSpPr>
        <p:spPr bwMode="auto">
          <a:xfrm flipH="1">
            <a:off x="2862263" y="3359150"/>
            <a:ext cx="125413" cy="635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9" name="Rectangle 73"/>
          <p:cNvSpPr>
            <a:spLocks noChangeArrowheads="1"/>
          </p:cNvSpPr>
          <p:nvPr userDrawn="1"/>
        </p:nvSpPr>
        <p:spPr bwMode="auto">
          <a:xfrm flipH="1">
            <a:off x="2763838" y="3313112"/>
            <a:ext cx="69850" cy="52388"/>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0" name="Oval 74"/>
          <p:cNvSpPr>
            <a:spLocks noChangeArrowheads="1"/>
          </p:cNvSpPr>
          <p:nvPr userDrawn="1"/>
        </p:nvSpPr>
        <p:spPr bwMode="auto">
          <a:xfrm flipH="1">
            <a:off x="3789363" y="4799012"/>
            <a:ext cx="114300" cy="1143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1" name="Freeform 75"/>
          <p:cNvSpPr>
            <a:spLocks/>
          </p:cNvSpPr>
          <p:nvPr userDrawn="1"/>
        </p:nvSpPr>
        <p:spPr bwMode="auto">
          <a:xfrm flipH="1">
            <a:off x="3314701" y="3473450"/>
            <a:ext cx="1050925" cy="757238"/>
          </a:xfrm>
          <a:custGeom>
            <a:avLst/>
            <a:gdLst>
              <a:gd name="T0" fmla="*/ 662 w 662"/>
              <a:gd name="T1" fmla="*/ 238 h 477"/>
              <a:gd name="T2" fmla="*/ 331 w 662"/>
              <a:gd name="T3" fmla="*/ 477 h 477"/>
              <a:gd name="T4" fmla="*/ 0 w 662"/>
              <a:gd name="T5" fmla="*/ 238 h 477"/>
              <a:gd name="T6" fmla="*/ 331 w 662"/>
              <a:gd name="T7" fmla="*/ 0 h 477"/>
              <a:gd name="T8" fmla="*/ 662 w 662"/>
              <a:gd name="T9" fmla="*/ 238 h 477"/>
            </a:gdLst>
            <a:ahLst/>
            <a:cxnLst>
              <a:cxn ang="0">
                <a:pos x="T0" y="T1"/>
              </a:cxn>
              <a:cxn ang="0">
                <a:pos x="T2" y="T3"/>
              </a:cxn>
              <a:cxn ang="0">
                <a:pos x="T4" y="T5"/>
              </a:cxn>
              <a:cxn ang="0">
                <a:pos x="T6" y="T7"/>
              </a:cxn>
              <a:cxn ang="0">
                <a:pos x="T8" y="T9"/>
              </a:cxn>
            </a:cxnLst>
            <a:rect l="0" t="0" r="r" b="b"/>
            <a:pathLst>
              <a:path w="662" h="477">
                <a:moveTo>
                  <a:pt x="662" y="238"/>
                </a:moveTo>
                <a:lnTo>
                  <a:pt x="331" y="477"/>
                </a:lnTo>
                <a:lnTo>
                  <a:pt x="0" y="238"/>
                </a:lnTo>
                <a:lnTo>
                  <a:pt x="331" y="0"/>
                </a:lnTo>
                <a:lnTo>
                  <a:pt x="662" y="238"/>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2" name="Rectangle 76"/>
          <p:cNvSpPr>
            <a:spLocks noChangeArrowheads="1"/>
          </p:cNvSpPr>
          <p:nvPr userDrawn="1"/>
        </p:nvSpPr>
        <p:spPr bwMode="auto">
          <a:xfrm flipH="1">
            <a:off x="3459163" y="3538537"/>
            <a:ext cx="762000" cy="933450"/>
          </a:xfrm>
          <a:prstGeom prst="rect">
            <a:avLst/>
          </a:prstGeom>
          <a:solidFill>
            <a:srgbClr val="FFFD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3" name="Rectangle 77"/>
          <p:cNvSpPr>
            <a:spLocks noChangeArrowheads="1"/>
          </p:cNvSpPr>
          <p:nvPr userDrawn="1"/>
        </p:nvSpPr>
        <p:spPr bwMode="auto">
          <a:xfrm flipH="1">
            <a:off x="3884613" y="3667125"/>
            <a:ext cx="217488" cy="42863"/>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4" name="Rectangle 78"/>
          <p:cNvSpPr>
            <a:spLocks noChangeArrowheads="1"/>
          </p:cNvSpPr>
          <p:nvPr userDrawn="1"/>
        </p:nvSpPr>
        <p:spPr bwMode="auto">
          <a:xfrm flipH="1">
            <a:off x="3575051" y="3752850"/>
            <a:ext cx="530225" cy="42863"/>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5" name="Rectangle 79"/>
          <p:cNvSpPr>
            <a:spLocks noChangeArrowheads="1"/>
          </p:cNvSpPr>
          <p:nvPr userDrawn="1"/>
        </p:nvSpPr>
        <p:spPr bwMode="auto">
          <a:xfrm flipH="1">
            <a:off x="3575051" y="3833812"/>
            <a:ext cx="530225" cy="44450"/>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6" name="Rectangle 80"/>
          <p:cNvSpPr>
            <a:spLocks noChangeArrowheads="1"/>
          </p:cNvSpPr>
          <p:nvPr userDrawn="1"/>
        </p:nvSpPr>
        <p:spPr bwMode="auto">
          <a:xfrm flipH="1">
            <a:off x="3575051" y="3916362"/>
            <a:ext cx="530225" cy="42863"/>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7" name="Rectangle 81"/>
          <p:cNvSpPr>
            <a:spLocks noChangeArrowheads="1"/>
          </p:cNvSpPr>
          <p:nvPr userDrawn="1"/>
        </p:nvSpPr>
        <p:spPr bwMode="auto">
          <a:xfrm flipH="1">
            <a:off x="3575051" y="3997325"/>
            <a:ext cx="530225" cy="44450"/>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8" name="Rectangle 82"/>
          <p:cNvSpPr>
            <a:spLocks noChangeArrowheads="1"/>
          </p:cNvSpPr>
          <p:nvPr userDrawn="1"/>
        </p:nvSpPr>
        <p:spPr bwMode="auto">
          <a:xfrm flipH="1">
            <a:off x="3575051" y="4079875"/>
            <a:ext cx="530225" cy="44450"/>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9" name="Rectangle 83"/>
          <p:cNvSpPr>
            <a:spLocks noChangeArrowheads="1"/>
          </p:cNvSpPr>
          <p:nvPr userDrawn="1"/>
        </p:nvSpPr>
        <p:spPr bwMode="auto">
          <a:xfrm flipH="1">
            <a:off x="3575051" y="4160837"/>
            <a:ext cx="530225" cy="44450"/>
          </a:xfrm>
          <a:prstGeom prst="rect">
            <a:avLst/>
          </a:prstGeom>
          <a:solidFill>
            <a:srgbClr val="FFDE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0" name="Freeform 84"/>
          <p:cNvSpPr>
            <a:spLocks/>
          </p:cNvSpPr>
          <p:nvPr userDrawn="1"/>
        </p:nvSpPr>
        <p:spPr bwMode="auto">
          <a:xfrm flipH="1">
            <a:off x="3314701" y="3851275"/>
            <a:ext cx="1050925" cy="620713"/>
          </a:xfrm>
          <a:custGeom>
            <a:avLst/>
            <a:gdLst>
              <a:gd name="T0" fmla="*/ 0 w 662"/>
              <a:gd name="T1" fmla="*/ 391 h 391"/>
              <a:gd name="T2" fmla="*/ 662 w 662"/>
              <a:gd name="T3" fmla="*/ 391 h 391"/>
              <a:gd name="T4" fmla="*/ 662 w 662"/>
              <a:gd name="T5" fmla="*/ 0 h 391"/>
              <a:gd name="T6" fmla="*/ 331 w 662"/>
              <a:gd name="T7" fmla="*/ 239 h 391"/>
              <a:gd name="T8" fmla="*/ 0 w 662"/>
              <a:gd name="T9" fmla="*/ 0 h 391"/>
              <a:gd name="T10" fmla="*/ 0 w 662"/>
              <a:gd name="T11" fmla="*/ 391 h 391"/>
            </a:gdLst>
            <a:ahLst/>
            <a:cxnLst>
              <a:cxn ang="0">
                <a:pos x="T0" y="T1"/>
              </a:cxn>
              <a:cxn ang="0">
                <a:pos x="T2" y="T3"/>
              </a:cxn>
              <a:cxn ang="0">
                <a:pos x="T4" y="T5"/>
              </a:cxn>
              <a:cxn ang="0">
                <a:pos x="T6" y="T7"/>
              </a:cxn>
              <a:cxn ang="0">
                <a:pos x="T8" y="T9"/>
              </a:cxn>
              <a:cxn ang="0">
                <a:pos x="T10" y="T11"/>
              </a:cxn>
            </a:cxnLst>
            <a:rect l="0" t="0" r="r" b="b"/>
            <a:pathLst>
              <a:path w="662" h="391">
                <a:moveTo>
                  <a:pt x="0" y="391"/>
                </a:moveTo>
                <a:lnTo>
                  <a:pt x="662" y="391"/>
                </a:lnTo>
                <a:lnTo>
                  <a:pt x="662" y="0"/>
                </a:lnTo>
                <a:lnTo>
                  <a:pt x="331" y="239"/>
                </a:lnTo>
                <a:lnTo>
                  <a:pt x="0" y="0"/>
                </a:lnTo>
                <a:lnTo>
                  <a:pt x="0" y="39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85"/>
          <p:cNvSpPr>
            <a:spLocks/>
          </p:cNvSpPr>
          <p:nvPr userDrawn="1"/>
        </p:nvSpPr>
        <p:spPr bwMode="auto">
          <a:xfrm flipH="1">
            <a:off x="3314701" y="4160837"/>
            <a:ext cx="1050925" cy="311150"/>
          </a:xfrm>
          <a:custGeom>
            <a:avLst/>
            <a:gdLst>
              <a:gd name="T0" fmla="*/ 0 w 662"/>
              <a:gd name="T1" fmla="*/ 196 h 196"/>
              <a:gd name="T2" fmla="*/ 662 w 662"/>
              <a:gd name="T3" fmla="*/ 196 h 196"/>
              <a:gd name="T4" fmla="*/ 391 w 662"/>
              <a:gd name="T5" fmla="*/ 0 h 196"/>
              <a:gd name="T6" fmla="*/ 271 w 662"/>
              <a:gd name="T7" fmla="*/ 0 h 196"/>
              <a:gd name="T8" fmla="*/ 271 w 662"/>
              <a:gd name="T9" fmla="*/ 0 h 196"/>
              <a:gd name="T10" fmla="*/ 0 w 662"/>
              <a:gd name="T11" fmla="*/ 196 h 196"/>
            </a:gdLst>
            <a:ahLst/>
            <a:cxnLst>
              <a:cxn ang="0">
                <a:pos x="T0" y="T1"/>
              </a:cxn>
              <a:cxn ang="0">
                <a:pos x="T2" y="T3"/>
              </a:cxn>
              <a:cxn ang="0">
                <a:pos x="T4" y="T5"/>
              </a:cxn>
              <a:cxn ang="0">
                <a:pos x="T6" y="T7"/>
              </a:cxn>
              <a:cxn ang="0">
                <a:pos x="T8" y="T9"/>
              </a:cxn>
              <a:cxn ang="0">
                <a:pos x="T10" y="T11"/>
              </a:cxn>
            </a:cxnLst>
            <a:rect l="0" t="0" r="r" b="b"/>
            <a:pathLst>
              <a:path w="662" h="196">
                <a:moveTo>
                  <a:pt x="0" y="196"/>
                </a:moveTo>
                <a:lnTo>
                  <a:pt x="662" y="196"/>
                </a:lnTo>
                <a:lnTo>
                  <a:pt x="391" y="0"/>
                </a:lnTo>
                <a:lnTo>
                  <a:pt x="271" y="0"/>
                </a:lnTo>
                <a:lnTo>
                  <a:pt x="271" y="0"/>
                </a:lnTo>
                <a:lnTo>
                  <a:pt x="0" y="196"/>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86"/>
          <p:cNvSpPr>
            <a:spLocks/>
          </p:cNvSpPr>
          <p:nvPr userDrawn="1"/>
        </p:nvSpPr>
        <p:spPr bwMode="auto">
          <a:xfrm flipH="1">
            <a:off x="4459288" y="2036762"/>
            <a:ext cx="628650" cy="485775"/>
          </a:xfrm>
          <a:custGeom>
            <a:avLst/>
            <a:gdLst>
              <a:gd name="T0" fmla="*/ 396 w 396"/>
              <a:gd name="T1" fmla="*/ 0 h 306"/>
              <a:gd name="T2" fmla="*/ 308 w 396"/>
              <a:gd name="T3" fmla="*/ 296 h 306"/>
              <a:gd name="T4" fmla="*/ 0 w 396"/>
              <a:gd name="T5" fmla="*/ 306 h 306"/>
              <a:gd name="T6" fmla="*/ 88 w 396"/>
              <a:gd name="T7" fmla="*/ 10 h 306"/>
              <a:gd name="T8" fmla="*/ 396 w 396"/>
              <a:gd name="T9" fmla="*/ 0 h 306"/>
            </a:gdLst>
            <a:ahLst/>
            <a:cxnLst>
              <a:cxn ang="0">
                <a:pos x="T0" y="T1"/>
              </a:cxn>
              <a:cxn ang="0">
                <a:pos x="T2" y="T3"/>
              </a:cxn>
              <a:cxn ang="0">
                <a:pos x="T4" y="T5"/>
              </a:cxn>
              <a:cxn ang="0">
                <a:pos x="T6" y="T7"/>
              </a:cxn>
              <a:cxn ang="0">
                <a:pos x="T8" y="T9"/>
              </a:cxn>
            </a:cxnLst>
            <a:rect l="0" t="0" r="r" b="b"/>
            <a:pathLst>
              <a:path w="396" h="306">
                <a:moveTo>
                  <a:pt x="396" y="0"/>
                </a:moveTo>
                <a:lnTo>
                  <a:pt x="308" y="296"/>
                </a:lnTo>
                <a:lnTo>
                  <a:pt x="0" y="306"/>
                </a:lnTo>
                <a:lnTo>
                  <a:pt x="88" y="10"/>
                </a:lnTo>
                <a:lnTo>
                  <a:pt x="396"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87"/>
          <p:cNvSpPr>
            <a:spLocks/>
          </p:cNvSpPr>
          <p:nvPr userDrawn="1"/>
        </p:nvSpPr>
        <p:spPr bwMode="auto">
          <a:xfrm flipH="1">
            <a:off x="4257676" y="1916112"/>
            <a:ext cx="889000" cy="911225"/>
          </a:xfrm>
          <a:custGeom>
            <a:avLst/>
            <a:gdLst>
              <a:gd name="T0" fmla="*/ 271 w 560"/>
              <a:gd name="T1" fmla="*/ 574 h 574"/>
              <a:gd name="T2" fmla="*/ 560 w 560"/>
              <a:gd name="T3" fmla="*/ 352 h 574"/>
              <a:gd name="T4" fmla="*/ 288 w 560"/>
              <a:gd name="T5" fmla="*/ 0 h 574"/>
              <a:gd name="T6" fmla="*/ 0 w 560"/>
              <a:gd name="T7" fmla="*/ 222 h 574"/>
              <a:gd name="T8" fmla="*/ 271 w 560"/>
              <a:gd name="T9" fmla="*/ 574 h 574"/>
            </a:gdLst>
            <a:ahLst/>
            <a:cxnLst>
              <a:cxn ang="0">
                <a:pos x="T0" y="T1"/>
              </a:cxn>
              <a:cxn ang="0">
                <a:pos x="T2" y="T3"/>
              </a:cxn>
              <a:cxn ang="0">
                <a:pos x="T4" y="T5"/>
              </a:cxn>
              <a:cxn ang="0">
                <a:pos x="T6" y="T7"/>
              </a:cxn>
              <a:cxn ang="0">
                <a:pos x="T8" y="T9"/>
              </a:cxn>
            </a:cxnLst>
            <a:rect l="0" t="0" r="r" b="b"/>
            <a:pathLst>
              <a:path w="560" h="574">
                <a:moveTo>
                  <a:pt x="271" y="574"/>
                </a:moveTo>
                <a:lnTo>
                  <a:pt x="560" y="352"/>
                </a:lnTo>
                <a:lnTo>
                  <a:pt x="288" y="0"/>
                </a:lnTo>
                <a:lnTo>
                  <a:pt x="0" y="222"/>
                </a:lnTo>
                <a:lnTo>
                  <a:pt x="271" y="574"/>
                </a:lnTo>
                <a:close/>
              </a:path>
            </a:pathLst>
          </a:custGeom>
          <a:solidFill>
            <a:srgbClr val="FFFD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4" name="Freeform 88"/>
          <p:cNvSpPr>
            <a:spLocks/>
          </p:cNvSpPr>
          <p:nvPr userDrawn="1"/>
        </p:nvSpPr>
        <p:spPr bwMode="auto">
          <a:xfrm flipH="1">
            <a:off x="4865688" y="2189162"/>
            <a:ext cx="150813" cy="127000"/>
          </a:xfrm>
          <a:custGeom>
            <a:avLst/>
            <a:gdLst>
              <a:gd name="T0" fmla="*/ 13 w 95"/>
              <a:gd name="T1" fmla="*/ 80 h 80"/>
              <a:gd name="T2" fmla="*/ 95 w 95"/>
              <a:gd name="T3" fmla="*/ 17 h 80"/>
              <a:gd name="T4" fmla="*/ 82 w 95"/>
              <a:gd name="T5" fmla="*/ 0 h 80"/>
              <a:gd name="T6" fmla="*/ 0 w 95"/>
              <a:gd name="T7" fmla="*/ 64 h 80"/>
              <a:gd name="T8" fmla="*/ 13 w 95"/>
              <a:gd name="T9" fmla="*/ 80 h 80"/>
            </a:gdLst>
            <a:ahLst/>
            <a:cxnLst>
              <a:cxn ang="0">
                <a:pos x="T0" y="T1"/>
              </a:cxn>
              <a:cxn ang="0">
                <a:pos x="T2" y="T3"/>
              </a:cxn>
              <a:cxn ang="0">
                <a:pos x="T4" y="T5"/>
              </a:cxn>
              <a:cxn ang="0">
                <a:pos x="T6" y="T7"/>
              </a:cxn>
              <a:cxn ang="0">
                <a:pos x="T8" y="T9"/>
              </a:cxn>
            </a:cxnLst>
            <a:rect l="0" t="0" r="r" b="b"/>
            <a:pathLst>
              <a:path w="95" h="80">
                <a:moveTo>
                  <a:pt x="13" y="80"/>
                </a:moveTo>
                <a:lnTo>
                  <a:pt x="95" y="17"/>
                </a:lnTo>
                <a:lnTo>
                  <a:pt x="82" y="0"/>
                </a:lnTo>
                <a:lnTo>
                  <a:pt x="0" y="64"/>
                </a:lnTo>
                <a:lnTo>
                  <a:pt x="13" y="8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5" name="Freeform 89"/>
          <p:cNvSpPr>
            <a:spLocks/>
          </p:cNvSpPr>
          <p:nvPr userDrawn="1"/>
        </p:nvSpPr>
        <p:spPr bwMode="auto">
          <a:xfrm flipH="1">
            <a:off x="4640263" y="2098675"/>
            <a:ext cx="338138" cy="269875"/>
          </a:xfrm>
          <a:custGeom>
            <a:avLst/>
            <a:gdLst>
              <a:gd name="T0" fmla="*/ 13 w 213"/>
              <a:gd name="T1" fmla="*/ 170 h 170"/>
              <a:gd name="T2" fmla="*/ 213 w 213"/>
              <a:gd name="T3" fmla="*/ 16 h 170"/>
              <a:gd name="T4" fmla="*/ 200 w 213"/>
              <a:gd name="T5" fmla="*/ 0 h 170"/>
              <a:gd name="T6" fmla="*/ 0 w 213"/>
              <a:gd name="T7" fmla="*/ 154 h 170"/>
              <a:gd name="T8" fmla="*/ 13 w 213"/>
              <a:gd name="T9" fmla="*/ 170 h 170"/>
            </a:gdLst>
            <a:ahLst/>
            <a:cxnLst>
              <a:cxn ang="0">
                <a:pos x="T0" y="T1"/>
              </a:cxn>
              <a:cxn ang="0">
                <a:pos x="T2" y="T3"/>
              </a:cxn>
              <a:cxn ang="0">
                <a:pos x="T4" y="T5"/>
              </a:cxn>
              <a:cxn ang="0">
                <a:pos x="T6" y="T7"/>
              </a:cxn>
              <a:cxn ang="0">
                <a:pos x="T8" y="T9"/>
              </a:cxn>
            </a:cxnLst>
            <a:rect l="0" t="0" r="r" b="b"/>
            <a:pathLst>
              <a:path w="213" h="170">
                <a:moveTo>
                  <a:pt x="13" y="170"/>
                </a:moveTo>
                <a:lnTo>
                  <a:pt x="213" y="16"/>
                </a:lnTo>
                <a:lnTo>
                  <a:pt x="200" y="0"/>
                </a:lnTo>
                <a:lnTo>
                  <a:pt x="0" y="154"/>
                </a:lnTo>
                <a:lnTo>
                  <a:pt x="13" y="17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6" name="Freeform 90"/>
          <p:cNvSpPr>
            <a:spLocks/>
          </p:cNvSpPr>
          <p:nvPr userDrawn="1"/>
        </p:nvSpPr>
        <p:spPr bwMode="auto">
          <a:xfrm flipH="1">
            <a:off x="4602163" y="2147887"/>
            <a:ext cx="338138" cy="269875"/>
          </a:xfrm>
          <a:custGeom>
            <a:avLst/>
            <a:gdLst>
              <a:gd name="T0" fmla="*/ 13 w 213"/>
              <a:gd name="T1" fmla="*/ 170 h 170"/>
              <a:gd name="T2" fmla="*/ 213 w 213"/>
              <a:gd name="T3" fmla="*/ 16 h 170"/>
              <a:gd name="T4" fmla="*/ 200 w 213"/>
              <a:gd name="T5" fmla="*/ 0 h 170"/>
              <a:gd name="T6" fmla="*/ 0 w 213"/>
              <a:gd name="T7" fmla="*/ 154 h 170"/>
              <a:gd name="T8" fmla="*/ 13 w 213"/>
              <a:gd name="T9" fmla="*/ 170 h 170"/>
            </a:gdLst>
            <a:ahLst/>
            <a:cxnLst>
              <a:cxn ang="0">
                <a:pos x="T0" y="T1"/>
              </a:cxn>
              <a:cxn ang="0">
                <a:pos x="T2" y="T3"/>
              </a:cxn>
              <a:cxn ang="0">
                <a:pos x="T4" y="T5"/>
              </a:cxn>
              <a:cxn ang="0">
                <a:pos x="T6" y="T7"/>
              </a:cxn>
              <a:cxn ang="0">
                <a:pos x="T8" y="T9"/>
              </a:cxn>
            </a:cxnLst>
            <a:rect l="0" t="0" r="r" b="b"/>
            <a:pathLst>
              <a:path w="213" h="170">
                <a:moveTo>
                  <a:pt x="13" y="170"/>
                </a:moveTo>
                <a:lnTo>
                  <a:pt x="213" y="16"/>
                </a:lnTo>
                <a:lnTo>
                  <a:pt x="200" y="0"/>
                </a:lnTo>
                <a:lnTo>
                  <a:pt x="0" y="154"/>
                </a:lnTo>
                <a:lnTo>
                  <a:pt x="13" y="17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7" name="Freeform 91"/>
          <p:cNvSpPr>
            <a:spLocks/>
          </p:cNvSpPr>
          <p:nvPr userDrawn="1"/>
        </p:nvSpPr>
        <p:spPr bwMode="auto">
          <a:xfrm flipH="1">
            <a:off x="4565651" y="2195512"/>
            <a:ext cx="336550" cy="271463"/>
          </a:xfrm>
          <a:custGeom>
            <a:avLst/>
            <a:gdLst>
              <a:gd name="T0" fmla="*/ 13 w 212"/>
              <a:gd name="T1" fmla="*/ 171 h 171"/>
              <a:gd name="T2" fmla="*/ 212 w 212"/>
              <a:gd name="T3" fmla="*/ 17 h 171"/>
              <a:gd name="T4" fmla="*/ 200 w 212"/>
              <a:gd name="T5" fmla="*/ 0 h 171"/>
              <a:gd name="T6" fmla="*/ 0 w 212"/>
              <a:gd name="T7" fmla="*/ 154 h 171"/>
              <a:gd name="T8" fmla="*/ 13 w 212"/>
              <a:gd name="T9" fmla="*/ 171 h 171"/>
            </a:gdLst>
            <a:ahLst/>
            <a:cxnLst>
              <a:cxn ang="0">
                <a:pos x="T0" y="T1"/>
              </a:cxn>
              <a:cxn ang="0">
                <a:pos x="T2" y="T3"/>
              </a:cxn>
              <a:cxn ang="0">
                <a:pos x="T4" y="T5"/>
              </a:cxn>
              <a:cxn ang="0">
                <a:pos x="T6" y="T7"/>
              </a:cxn>
              <a:cxn ang="0">
                <a:pos x="T8" y="T9"/>
              </a:cxn>
            </a:cxnLst>
            <a:rect l="0" t="0" r="r" b="b"/>
            <a:pathLst>
              <a:path w="212" h="171">
                <a:moveTo>
                  <a:pt x="13" y="171"/>
                </a:moveTo>
                <a:lnTo>
                  <a:pt x="212" y="17"/>
                </a:lnTo>
                <a:lnTo>
                  <a:pt x="200" y="0"/>
                </a:lnTo>
                <a:lnTo>
                  <a:pt x="0" y="154"/>
                </a:lnTo>
                <a:lnTo>
                  <a:pt x="13" y="171"/>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8" name="Freeform 92"/>
          <p:cNvSpPr>
            <a:spLocks/>
          </p:cNvSpPr>
          <p:nvPr userDrawn="1"/>
        </p:nvSpPr>
        <p:spPr bwMode="auto">
          <a:xfrm flipH="1">
            <a:off x="4527551" y="2244725"/>
            <a:ext cx="336550" cy="271463"/>
          </a:xfrm>
          <a:custGeom>
            <a:avLst/>
            <a:gdLst>
              <a:gd name="T0" fmla="*/ 12 w 212"/>
              <a:gd name="T1" fmla="*/ 171 h 171"/>
              <a:gd name="T2" fmla="*/ 212 w 212"/>
              <a:gd name="T3" fmla="*/ 17 h 171"/>
              <a:gd name="T4" fmla="*/ 199 w 212"/>
              <a:gd name="T5" fmla="*/ 0 h 171"/>
              <a:gd name="T6" fmla="*/ 0 w 212"/>
              <a:gd name="T7" fmla="*/ 154 h 171"/>
              <a:gd name="T8" fmla="*/ 12 w 212"/>
              <a:gd name="T9" fmla="*/ 171 h 171"/>
            </a:gdLst>
            <a:ahLst/>
            <a:cxnLst>
              <a:cxn ang="0">
                <a:pos x="T0" y="T1"/>
              </a:cxn>
              <a:cxn ang="0">
                <a:pos x="T2" y="T3"/>
              </a:cxn>
              <a:cxn ang="0">
                <a:pos x="T4" y="T5"/>
              </a:cxn>
              <a:cxn ang="0">
                <a:pos x="T6" y="T7"/>
              </a:cxn>
              <a:cxn ang="0">
                <a:pos x="T8" y="T9"/>
              </a:cxn>
            </a:cxnLst>
            <a:rect l="0" t="0" r="r" b="b"/>
            <a:pathLst>
              <a:path w="212" h="171">
                <a:moveTo>
                  <a:pt x="12" y="171"/>
                </a:moveTo>
                <a:lnTo>
                  <a:pt x="212" y="17"/>
                </a:lnTo>
                <a:lnTo>
                  <a:pt x="199" y="0"/>
                </a:lnTo>
                <a:lnTo>
                  <a:pt x="0" y="154"/>
                </a:lnTo>
                <a:lnTo>
                  <a:pt x="12" y="171"/>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9" name="Freeform 93"/>
          <p:cNvSpPr>
            <a:spLocks/>
          </p:cNvSpPr>
          <p:nvPr userDrawn="1"/>
        </p:nvSpPr>
        <p:spPr bwMode="auto">
          <a:xfrm flipH="1">
            <a:off x="4489450" y="2293937"/>
            <a:ext cx="338138" cy="271463"/>
          </a:xfrm>
          <a:custGeom>
            <a:avLst/>
            <a:gdLst>
              <a:gd name="T0" fmla="*/ 13 w 213"/>
              <a:gd name="T1" fmla="*/ 171 h 171"/>
              <a:gd name="T2" fmla="*/ 213 w 213"/>
              <a:gd name="T3" fmla="*/ 17 h 171"/>
              <a:gd name="T4" fmla="*/ 200 w 213"/>
              <a:gd name="T5" fmla="*/ 0 h 171"/>
              <a:gd name="T6" fmla="*/ 0 w 213"/>
              <a:gd name="T7" fmla="*/ 154 h 171"/>
              <a:gd name="T8" fmla="*/ 13 w 213"/>
              <a:gd name="T9" fmla="*/ 171 h 171"/>
            </a:gdLst>
            <a:ahLst/>
            <a:cxnLst>
              <a:cxn ang="0">
                <a:pos x="T0" y="T1"/>
              </a:cxn>
              <a:cxn ang="0">
                <a:pos x="T2" y="T3"/>
              </a:cxn>
              <a:cxn ang="0">
                <a:pos x="T4" y="T5"/>
              </a:cxn>
              <a:cxn ang="0">
                <a:pos x="T6" y="T7"/>
              </a:cxn>
              <a:cxn ang="0">
                <a:pos x="T8" y="T9"/>
              </a:cxn>
            </a:cxnLst>
            <a:rect l="0" t="0" r="r" b="b"/>
            <a:pathLst>
              <a:path w="213" h="171">
                <a:moveTo>
                  <a:pt x="13" y="171"/>
                </a:moveTo>
                <a:lnTo>
                  <a:pt x="213" y="17"/>
                </a:lnTo>
                <a:lnTo>
                  <a:pt x="200" y="0"/>
                </a:lnTo>
                <a:lnTo>
                  <a:pt x="0" y="154"/>
                </a:lnTo>
                <a:lnTo>
                  <a:pt x="13" y="171"/>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0" name="Freeform 94"/>
          <p:cNvSpPr>
            <a:spLocks/>
          </p:cNvSpPr>
          <p:nvPr userDrawn="1"/>
        </p:nvSpPr>
        <p:spPr bwMode="auto">
          <a:xfrm flipH="1">
            <a:off x="4451350" y="2343150"/>
            <a:ext cx="338138" cy="271463"/>
          </a:xfrm>
          <a:custGeom>
            <a:avLst/>
            <a:gdLst>
              <a:gd name="T0" fmla="*/ 13 w 213"/>
              <a:gd name="T1" fmla="*/ 171 h 171"/>
              <a:gd name="T2" fmla="*/ 213 w 213"/>
              <a:gd name="T3" fmla="*/ 17 h 171"/>
              <a:gd name="T4" fmla="*/ 200 w 213"/>
              <a:gd name="T5" fmla="*/ 0 h 171"/>
              <a:gd name="T6" fmla="*/ 0 w 213"/>
              <a:gd name="T7" fmla="*/ 154 h 171"/>
              <a:gd name="T8" fmla="*/ 13 w 213"/>
              <a:gd name="T9" fmla="*/ 171 h 171"/>
            </a:gdLst>
            <a:ahLst/>
            <a:cxnLst>
              <a:cxn ang="0">
                <a:pos x="T0" y="T1"/>
              </a:cxn>
              <a:cxn ang="0">
                <a:pos x="T2" y="T3"/>
              </a:cxn>
              <a:cxn ang="0">
                <a:pos x="T4" y="T5"/>
              </a:cxn>
              <a:cxn ang="0">
                <a:pos x="T6" y="T7"/>
              </a:cxn>
              <a:cxn ang="0">
                <a:pos x="T8" y="T9"/>
              </a:cxn>
            </a:cxnLst>
            <a:rect l="0" t="0" r="r" b="b"/>
            <a:pathLst>
              <a:path w="213" h="171">
                <a:moveTo>
                  <a:pt x="13" y="171"/>
                </a:moveTo>
                <a:lnTo>
                  <a:pt x="213" y="17"/>
                </a:lnTo>
                <a:lnTo>
                  <a:pt x="200" y="0"/>
                </a:lnTo>
                <a:lnTo>
                  <a:pt x="0" y="154"/>
                </a:lnTo>
                <a:lnTo>
                  <a:pt x="13" y="171"/>
                </a:lnTo>
                <a:close/>
              </a:path>
            </a:pathLst>
          </a:custGeom>
          <a:solidFill>
            <a:srgbClr val="FFD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1" name="Freeform 95"/>
          <p:cNvSpPr>
            <a:spLocks/>
          </p:cNvSpPr>
          <p:nvPr userDrawn="1"/>
        </p:nvSpPr>
        <p:spPr bwMode="auto">
          <a:xfrm flipH="1">
            <a:off x="4171950" y="2036762"/>
            <a:ext cx="915988" cy="857250"/>
          </a:xfrm>
          <a:custGeom>
            <a:avLst/>
            <a:gdLst>
              <a:gd name="T0" fmla="*/ 180 w 577"/>
              <a:gd name="T1" fmla="*/ 540 h 540"/>
              <a:gd name="T2" fmla="*/ 577 w 577"/>
              <a:gd name="T3" fmla="*/ 235 h 540"/>
              <a:gd name="T4" fmla="*/ 396 w 577"/>
              <a:gd name="T5" fmla="*/ 0 h 540"/>
              <a:gd name="T6" fmla="*/ 308 w 577"/>
              <a:gd name="T7" fmla="*/ 296 h 540"/>
              <a:gd name="T8" fmla="*/ 0 w 577"/>
              <a:gd name="T9" fmla="*/ 306 h 540"/>
              <a:gd name="T10" fmla="*/ 180 w 577"/>
              <a:gd name="T11" fmla="*/ 540 h 540"/>
            </a:gdLst>
            <a:ahLst/>
            <a:cxnLst>
              <a:cxn ang="0">
                <a:pos x="T0" y="T1"/>
              </a:cxn>
              <a:cxn ang="0">
                <a:pos x="T2" y="T3"/>
              </a:cxn>
              <a:cxn ang="0">
                <a:pos x="T4" y="T5"/>
              </a:cxn>
              <a:cxn ang="0">
                <a:pos x="T6" y="T7"/>
              </a:cxn>
              <a:cxn ang="0">
                <a:pos x="T8" y="T9"/>
              </a:cxn>
              <a:cxn ang="0">
                <a:pos x="T10" y="T11"/>
              </a:cxn>
            </a:cxnLst>
            <a:rect l="0" t="0" r="r" b="b"/>
            <a:pathLst>
              <a:path w="577" h="540">
                <a:moveTo>
                  <a:pt x="180" y="540"/>
                </a:moveTo>
                <a:lnTo>
                  <a:pt x="577" y="235"/>
                </a:lnTo>
                <a:lnTo>
                  <a:pt x="396" y="0"/>
                </a:lnTo>
                <a:lnTo>
                  <a:pt x="308" y="296"/>
                </a:lnTo>
                <a:lnTo>
                  <a:pt x="0" y="306"/>
                </a:lnTo>
                <a:lnTo>
                  <a:pt x="180" y="54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2" name="Freeform 96"/>
          <p:cNvSpPr>
            <a:spLocks/>
          </p:cNvSpPr>
          <p:nvPr userDrawn="1"/>
        </p:nvSpPr>
        <p:spPr bwMode="auto">
          <a:xfrm flipH="1">
            <a:off x="4171950" y="2409825"/>
            <a:ext cx="630238" cy="484188"/>
          </a:xfrm>
          <a:custGeom>
            <a:avLst/>
            <a:gdLst>
              <a:gd name="T0" fmla="*/ 0 w 397"/>
              <a:gd name="T1" fmla="*/ 305 h 305"/>
              <a:gd name="T2" fmla="*/ 397 w 397"/>
              <a:gd name="T3" fmla="*/ 0 h 305"/>
              <a:gd name="T4" fmla="*/ 144 w 397"/>
              <a:gd name="T5" fmla="*/ 7 h 305"/>
              <a:gd name="T6" fmla="*/ 72 w 397"/>
              <a:gd name="T7" fmla="*/ 63 h 305"/>
              <a:gd name="T8" fmla="*/ 0 w 397"/>
              <a:gd name="T9" fmla="*/ 305 h 305"/>
            </a:gdLst>
            <a:ahLst/>
            <a:cxnLst>
              <a:cxn ang="0">
                <a:pos x="T0" y="T1"/>
              </a:cxn>
              <a:cxn ang="0">
                <a:pos x="T2" y="T3"/>
              </a:cxn>
              <a:cxn ang="0">
                <a:pos x="T4" y="T5"/>
              </a:cxn>
              <a:cxn ang="0">
                <a:pos x="T6" y="T7"/>
              </a:cxn>
              <a:cxn ang="0">
                <a:pos x="T8" y="T9"/>
              </a:cxn>
            </a:cxnLst>
            <a:rect l="0" t="0" r="r" b="b"/>
            <a:pathLst>
              <a:path w="397" h="305">
                <a:moveTo>
                  <a:pt x="0" y="305"/>
                </a:moveTo>
                <a:lnTo>
                  <a:pt x="397" y="0"/>
                </a:lnTo>
                <a:lnTo>
                  <a:pt x="144" y="7"/>
                </a:lnTo>
                <a:lnTo>
                  <a:pt x="72" y="63"/>
                </a:lnTo>
                <a:lnTo>
                  <a:pt x="0" y="305"/>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0" name="标题 1"/>
          <p:cNvSpPr>
            <a:spLocks noGrp="1"/>
          </p:cNvSpPr>
          <p:nvPr userDrawn="1">
            <p:ph type="title"/>
          </p:nvPr>
        </p:nvSpPr>
        <p:spPr>
          <a:xfrm>
            <a:off x="6540741" y="2586038"/>
            <a:ext cx="4903783"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541857" y="3481388"/>
            <a:ext cx="4903783"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0/12/20</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0/12/20</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2" name="组合 1"/>
          <p:cNvGrpSpPr/>
          <p:nvPr userDrawn="1"/>
        </p:nvGrpSpPr>
        <p:grpSpPr>
          <a:xfrm>
            <a:off x="1588" y="0"/>
            <a:ext cx="12190413" cy="6859588"/>
            <a:chOff x="1588" y="0"/>
            <a:chExt cx="12190413" cy="6859588"/>
          </a:xfrm>
        </p:grpSpPr>
        <p:sp>
          <p:nvSpPr>
            <p:cNvPr id="7" name="AutoShape 3"/>
            <p:cNvSpPr>
              <a:spLocks noChangeAspect="1" noChangeArrowheads="1" noTextEdit="1"/>
            </p:cNvSpPr>
            <p:nvPr userDrawn="1"/>
          </p:nvSpPr>
          <p:spPr bwMode="auto">
            <a:xfrm flipH="1">
              <a:off x="3176" y="0"/>
              <a:ext cx="121888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 name="Rectangle 5"/>
            <p:cNvSpPr>
              <a:spLocks noChangeArrowheads="1"/>
            </p:cNvSpPr>
            <p:nvPr userDrawn="1"/>
          </p:nvSpPr>
          <p:spPr bwMode="auto">
            <a:xfrm flipH="1">
              <a:off x="1588" y="1588"/>
              <a:ext cx="12188825" cy="68580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 name="Rectangle 6"/>
            <p:cNvSpPr>
              <a:spLocks noChangeArrowheads="1"/>
            </p:cNvSpPr>
            <p:nvPr userDrawn="1"/>
          </p:nvSpPr>
          <p:spPr bwMode="auto">
            <a:xfrm flipH="1">
              <a:off x="1588" y="1588"/>
              <a:ext cx="121888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 name="Freeform 7"/>
            <p:cNvSpPr>
              <a:spLocks/>
            </p:cNvSpPr>
            <p:nvPr userDrawn="1"/>
          </p:nvSpPr>
          <p:spPr bwMode="auto">
            <a:xfrm flipH="1">
              <a:off x="9826625" y="238125"/>
              <a:ext cx="1985963" cy="1706563"/>
            </a:xfrm>
            <a:custGeom>
              <a:avLst/>
              <a:gdLst>
                <a:gd name="T0" fmla="*/ 1218 w 1251"/>
                <a:gd name="T1" fmla="*/ 1075 h 1075"/>
                <a:gd name="T2" fmla="*/ 537 w 1251"/>
                <a:gd name="T3" fmla="*/ 1075 h 1075"/>
                <a:gd name="T4" fmla="*/ 0 w 1251"/>
                <a:gd name="T5" fmla="*/ 537 h 1075"/>
                <a:gd name="T6" fmla="*/ 537 w 1251"/>
                <a:gd name="T7" fmla="*/ 0 h 1075"/>
                <a:gd name="T8" fmla="*/ 1199 w 1251"/>
                <a:gd name="T9" fmla="*/ 0 h 1075"/>
                <a:gd name="T10" fmla="*/ 1232 w 1251"/>
                <a:gd name="T11" fmla="*/ 33 h 1075"/>
                <a:gd name="T12" fmla="*/ 1199 w 1251"/>
                <a:gd name="T13" fmla="*/ 66 h 1075"/>
                <a:gd name="T14" fmla="*/ 537 w 1251"/>
                <a:gd name="T15" fmla="*/ 66 h 1075"/>
                <a:gd name="T16" fmla="*/ 65 w 1251"/>
                <a:gd name="T17" fmla="*/ 537 h 1075"/>
                <a:gd name="T18" fmla="*/ 537 w 1251"/>
                <a:gd name="T19" fmla="*/ 1009 h 1075"/>
                <a:gd name="T20" fmla="*/ 1218 w 1251"/>
                <a:gd name="T21" fmla="*/ 1009 h 1075"/>
                <a:gd name="T22" fmla="*/ 1251 w 1251"/>
                <a:gd name="T23" fmla="*/ 1042 h 1075"/>
                <a:gd name="T24" fmla="*/ 1218 w 1251"/>
                <a:gd name="T25" fmla="*/ 1075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1" h="1075">
                  <a:moveTo>
                    <a:pt x="1218" y="1075"/>
                  </a:moveTo>
                  <a:cubicBezTo>
                    <a:pt x="537" y="1075"/>
                    <a:pt x="537" y="1075"/>
                    <a:pt x="537" y="1075"/>
                  </a:cubicBezTo>
                  <a:cubicBezTo>
                    <a:pt x="241" y="1075"/>
                    <a:pt x="0" y="834"/>
                    <a:pt x="0" y="537"/>
                  </a:cubicBezTo>
                  <a:cubicBezTo>
                    <a:pt x="0" y="241"/>
                    <a:pt x="241" y="0"/>
                    <a:pt x="537" y="0"/>
                  </a:cubicBezTo>
                  <a:cubicBezTo>
                    <a:pt x="1199" y="0"/>
                    <a:pt x="1199" y="0"/>
                    <a:pt x="1199" y="0"/>
                  </a:cubicBezTo>
                  <a:cubicBezTo>
                    <a:pt x="1217" y="0"/>
                    <a:pt x="1232" y="15"/>
                    <a:pt x="1232" y="33"/>
                  </a:cubicBezTo>
                  <a:cubicBezTo>
                    <a:pt x="1232" y="51"/>
                    <a:pt x="1217" y="66"/>
                    <a:pt x="1199" y="66"/>
                  </a:cubicBezTo>
                  <a:cubicBezTo>
                    <a:pt x="537" y="66"/>
                    <a:pt x="537" y="66"/>
                    <a:pt x="537" y="66"/>
                  </a:cubicBezTo>
                  <a:cubicBezTo>
                    <a:pt x="277" y="66"/>
                    <a:pt x="65" y="277"/>
                    <a:pt x="65" y="537"/>
                  </a:cubicBezTo>
                  <a:cubicBezTo>
                    <a:pt x="65" y="797"/>
                    <a:pt x="277" y="1009"/>
                    <a:pt x="537" y="1009"/>
                  </a:cubicBezTo>
                  <a:cubicBezTo>
                    <a:pt x="1218" y="1009"/>
                    <a:pt x="1218" y="1009"/>
                    <a:pt x="1218" y="1009"/>
                  </a:cubicBezTo>
                  <a:cubicBezTo>
                    <a:pt x="1237" y="1009"/>
                    <a:pt x="1251" y="1024"/>
                    <a:pt x="1251" y="1042"/>
                  </a:cubicBezTo>
                  <a:cubicBezTo>
                    <a:pt x="1251" y="1060"/>
                    <a:pt x="1237" y="1075"/>
                    <a:pt x="1218" y="1075"/>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 name="Freeform 8"/>
            <p:cNvSpPr>
              <a:spLocks/>
            </p:cNvSpPr>
            <p:nvPr userDrawn="1"/>
          </p:nvSpPr>
          <p:spPr bwMode="auto">
            <a:xfrm flipH="1">
              <a:off x="10048875" y="427038"/>
              <a:ext cx="1541463" cy="1328738"/>
            </a:xfrm>
            <a:custGeom>
              <a:avLst/>
              <a:gdLst>
                <a:gd name="T0" fmla="*/ 938 w 971"/>
                <a:gd name="T1" fmla="*/ 837 h 837"/>
                <a:gd name="T2" fmla="*/ 418 w 971"/>
                <a:gd name="T3" fmla="*/ 837 h 837"/>
                <a:gd name="T4" fmla="*/ 0 w 971"/>
                <a:gd name="T5" fmla="*/ 418 h 837"/>
                <a:gd name="T6" fmla="*/ 418 w 971"/>
                <a:gd name="T7" fmla="*/ 0 h 837"/>
                <a:gd name="T8" fmla="*/ 923 w 971"/>
                <a:gd name="T9" fmla="*/ 0 h 837"/>
                <a:gd name="T10" fmla="*/ 956 w 971"/>
                <a:gd name="T11" fmla="*/ 33 h 837"/>
                <a:gd name="T12" fmla="*/ 923 w 971"/>
                <a:gd name="T13" fmla="*/ 66 h 837"/>
                <a:gd name="T14" fmla="*/ 418 w 971"/>
                <a:gd name="T15" fmla="*/ 66 h 837"/>
                <a:gd name="T16" fmla="*/ 65 w 971"/>
                <a:gd name="T17" fmla="*/ 418 h 837"/>
                <a:gd name="T18" fmla="*/ 418 w 971"/>
                <a:gd name="T19" fmla="*/ 771 h 837"/>
                <a:gd name="T20" fmla="*/ 938 w 971"/>
                <a:gd name="T21" fmla="*/ 771 h 837"/>
                <a:gd name="T22" fmla="*/ 971 w 971"/>
                <a:gd name="T23" fmla="*/ 804 h 837"/>
                <a:gd name="T24" fmla="*/ 938 w 971"/>
                <a:gd name="T25" fmla="*/ 837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837">
                  <a:moveTo>
                    <a:pt x="938" y="837"/>
                  </a:moveTo>
                  <a:cubicBezTo>
                    <a:pt x="418" y="837"/>
                    <a:pt x="418" y="837"/>
                    <a:pt x="418" y="837"/>
                  </a:cubicBezTo>
                  <a:cubicBezTo>
                    <a:pt x="187" y="837"/>
                    <a:pt x="0" y="649"/>
                    <a:pt x="0" y="418"/>
                  </a:cubicBezTo>
                  <a:cubicBezTo>
                    <a:pt x="0" y="188"/>
                    <a:pt x="187" y="0"/>
                    <a:pt x="418" y="0"/>
                  </a:cubicBezTo>
                  <a:cubicBezTo>
                    <a:pt x="923" y="0"/>
                    <a:pt x="923" y="0"/>
                    <a:pt x="923" y="0"/>
                  </a:cubicBezTo>
                  <a:cubicBezTo>
                    <a:pt x="942" y="0"/>
                    <a:pt x="956" y="15"/>
                    <a:pt x="956" y="33"/>
                  </a:cubicBezTo>
                  <a:cubicBezTo>
                    <a:pt x="956" y="51"/>
                    <a:pt x="942" y="66"/>
                    <a:pt x="923" y="66"/>
                  </a:cubicBezTo>
                  <a:cubicBezTo>
                    <a:pt x="418" y="66"/>
                    <a:pt x="418" y="66"/>
                    <a:pt x="418" y="66"/>
                  </a:cubicBezTo>
                  <a:cubicBezTo>
                    <a:pt x="223" y="66"/>
                    <a:pt x="65" y="224"/>
                    <a:pt x="65" y="418"/>
                  </a:cubicBezTo>
                  <a:cubicBezTo>
                    <a:pt x="65" y="613"/>
                    <a:pt x="223" y="771"/>
                    <a:pt x="418" y="771"/>
                  </a:cubicBezTo>
                  <a:cubicBezTo>
                    <a:pt x="938" y="771"/>
                    <a:pt x="938" y="771"/>
                    <a:pt x="938" y="771"/>
                  </a:cubicBezTo>
                  <a:cubicBezTo>
                    <a:pt x="957" y="771"/>
                    <a:pt x="971" y="786"/>
                    <a:pt x="971" y="804"/>
                  </a:cubicBezTo>
                  <a:cubicBezTo>
                    <a:pt x="971" y="822"/>
                    <a:pt x="957" y="837"/>
                    <a:pt x="938" y="837"/>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 name="Freeform 9"/>
            <p:cNvSpPr>
              <a:spLocks/>
            </p:cNvSpPr>
            <p:nvPr userDrawn="1"/>
          </p:nvSpPr>
          <p:spPr bwMode="auto">
            <a:xfrm flipH="1">
              <a:off x="10264775" y="611188"/>
              <a:ext cx="1109663" cy="960438"/>
            </a:xfrm>
            <a:custGeom>
              <a:avLst/>
              <a:gdLst>
                <a:gd name="T0" fmla="*/ 666 w 699"/>
                <a:gd name="T1" fmla="*/ 605 h 605"/>
                <a:gd name="T2" fmla="*/ 302 w 699"/>
                <a:gd name="T3" fmla="*/ 605 h 605"/>
                <a:gd name="T4" fmla="*/ 0 w 699"/>
                <a:gd name="T5" fmla="*/ 302 h 605"/>
                <a:gd name="T6" fmla="*/ 302 w 699"/>
                <a:gd name="T7" fmla="*/ 0 h 605"/>
                <a:gd name="T8" fmla="*/ 656 w 699"/>
                <a:gd name="T9" fmla="*/ 0 h 605"/>
                <a:gd name="T10" fmla="*/ 688 w 699"/>
                <a:gd name="T11" fmla="*/ 33 h 605"/>
                <a:gd name="T12" fmla="*/ 656 w 699"/>
                <a:gd name="T13" fmla="*/ 66 h 605"/>
                <a:gd name="T14" fmla="*/ 302 w 699"/>
                <a:gd name="T15" fmla="*/ 66 h 605"/>
                <a:gd name="T16" fmla="*/ 66 w 699"/>
                <a:gd name="T17" fmla="*/ 302 h 605"/>
                <a:gd name="T18" fmla="*/ 302 w 699"/>
                <a:gd name="T19" fmla="*/ 539 h 605"/>
                <a:gd name="T20" fmla="*/ 666 w 699"/>
                <a:gd name="T21" fmla="*/ 539 h 605"/>
                <a:gd name="T22" fmla="*/ 699 w 699"/>
                <a:gd name="T23" fmla="*/ 572 h 605"/>
                <a:gd name="T24" fmla="*/ 666 w 699"/>
                <a:gd name="T25" fmla="*/ 605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9" h="605">
                  <a:moveTo>
                    <a:pt x="666" y="605"/>
                  </a:moveTo>
                  <a:cubicBezTo>
                    <a:pt x="302" y="605"/>
                    <a:pt x="302" y="605"/>
                    <a:pt x="302" y="605"/>
                  </a:cubicBezTo>
                  <a:cubicBezTo>
                    <a:pt x="136" y="605"/>
                    <a:pt x="0" y="469"/>
                    <a:pt x="0" y="302"/>
                  </a:cubicBezTo>
                  <a:cubicBezTo>
                    <a:pt x="0" y="136"/>
                    <a:pt x="136" y="0"/>
                    <a:pt x="302" y="0"/>
                  </a:cubicBezTo>
                  <a:cubicBezTo>
                    <a:pt x="656" y="0"/>
                    <a:pt x="656" y="0"/>
                    <a:pt x="656" y="0"/>
                  </a:cubicBezTo>
                  <a:cubicBezTo>
                    <a:pt x="674" y="0"/>
                    <a:pt x="688" y="15"/>
                    <a:pt x="688" y="33"/>
                  </a:cubicBezTo>
                  <a:cubicBezTo>
                    <a:pt x="688" y="51"/>
                    <a:pt x="674" y="66"/>
                    <a:pt x="656" y="66"/>
                  </a:cubicBezTo>
                  <a:cubicBezTo>
                    <a:pt x="302" y="66"/>
                    <a:pt x="302" y="66"/>
                    <a:pt x="302" y="66"/>
                  </a:cubicBezTo>
                  <a:cubicBezTo>
                    <a:pt x="172" y="66"/>
                    <a:pt x="66" y="172"/>
                    <a:pt x="66" y="302"/>
                  </a:cubicBezTo>
                  <a:cubicBezTo>
                    <a:pt x="66" y="433"/>
                    <a:pt x="172" y="539"/>
                    <a:pt x="302" y="539"/>
                  </a:cubicBezTo>
                  <a:cubicBezTo>
                    <a:pt x="666" y="539"/>
                    <a:pt x="666" y="539"/>
                    <a:pt x="666" y="539"/>
                  </a:cubicBezTo>
                  <a:cubicBezTo>
                    <a:pt x="684" y="539"/>
                    <a:pt x="699" y="554"/>
                    <a:pt x="699" y="572"/>
                  </a:cubicBezTo>
                  <a:cubicBezTo>
                    <a:pt x="699" y="590"/>
                    <a:pt x="684" y="605"/>
                    <a:pt x="666" y="605"/>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10"/>
            <p:cNvSpPr>
              <a:spLocks/>
            </p:cNvSpPr>
            <p:nvPr userDrawn="1"/>
          </p:nvSpPr>
          <p:spPr bwMode="auto">
            <a:xfrm flipH="1">
              <a:off x="174626" y="4630738"/>
              <a:ext cx="2387600" cy="2051050"/>
            </a:xfrm>
            <a:custGeom>
              <a:avLst/>
              <a:gdLst>
                <a:gd name="T0" fmla="*/ 859 w 1505"/>
                <a:gd name="T1" fmla="*/ 1292 h 1292"/>
                <a:gd name="T2" fmla="*/ 39 w 1505"/>
                <a:gd name="T3" fmla="*/ 1292 h 1292"/>
                <a:gd name="T4" fmla="*/ 0 w 1505"/>
                <a:gd name="T5" fmla="*/ 1253 h 1292"/>
                <a:gd name="T6" fmla="*/ 39 w 1505"/>
                <a:gd name="T7" fmla="*/ 1213 h 1292"/>
                <a:gd name="T8" fmla="*/ 859 w 1505"/>
                <a:gd name="T9" fmla="*/ 1213 h 1292"/>
                <a:gd name="T10" fmla="*/ 1426 w 1505"/>
                <a:gd name="T11" fmla="*/ 646 h 1292"/>
                <a:gd name="T12" fmla="*/ 859 w 1505"/>
                <a:gd name="T13" fmla="*/ 79 h 1292"/>
                <a:gd name="T14" fmla="*/ 63 w 1505"/>
                <a:gd name="T15" fmla="*/ 79 h 1292"/>
                <a:gd name="T16" fmla="*/ 23 w 1505"/>
                <a:gd name="T17" fmla="*/ 40 h 1292"/>
                <a:gd name="T18" fmla="*/ 63 w 1505"/>
                <a:gd name="T19" fmla="*/ 0 h 1292"/>
                <a:gd name="T20" fmla="*/ 859 w 1505"/>
                <a:gd name="T21" fmla="*/ 0 h 1292"/>
                <a:gd name="T22" fmla="*/ 1505 w 1505"/>
                <a:gd name="T23" fmla="*/ 646 h 1292"/>
                <a:gd name="T24" fmla="*/ 859 w 1505"/>
                <a:gd name="T25" fmla="*/ 1292 h 1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5" h="1292">
                  <a:moveTo>
                    <a:pt x="859" y="1292"/>
                  </a:moveTo>
                  <a:cubicBezTo>
                    <a:pt x="39" y="1292"/>
                    <a:pt x="39" y="1292"/>
                    <a:pt x="39" y="1292"/>
                  </a:cubicBezTo>
                  <a:cubicBezTo>
                    <a:pt x="18" y="1292"/>
                    <a:pt x="0" y="1274"/>
                    <a:pt x="0" y="1253"/>
                  </a:cubicBezTo>
                  <a:cubicBezTo>
                    <a:pt x="0" y="1231"/>
                    <a:pt x="18" y="1213"/>
                    <a:pt x="39" y="1213"/>
                  </a:cubicBezTo>
                  <a:cubicBezTo>
                    <a:pt x="859" y="1213"/>
                    <a:pt x="859" y="1213"/>
                    <a:pt x="859" y="1213"/>
                  </a:cubicBezTo>
                  <a:cubicBezTo>
                    <a:pt x="1171" y="1213"/>
                    <a:pt x="1426" y="959"/>
                    <a:pt x="1426" y="646"/>
                  </a:cubicBezTo>
                  <a:cubicBezTo>
                    <a:pt x="1426" y="333"/>
                    <a:pt x="1171" y="79"/>
                    <a:pt x="859" y="79"/>
                  </a:cubicBezTo>
                  <a:cubicBezTo>
                    <a:pt x="63" y="79"/>
                    <a:pt x="63" y="79"/>
                    <a:pt x="63" y="79"/>
                  </a:cubicBezTo>
                  <a:cubicBezTo>
                    <a:pt x="41" y="79"/>
                    <a:pt x="23" y="61"/>
                    <a:pt x="23" y="40"/>
                  </a:cubicBezTo>
                  <a:cubicBezTo>
                    <a:pt x="23" y="18"/>
                    <a:pt x="41" y="0"/>
                    <a:pt x="63" y="0"/>
                  </a:cubicBezTo>
                  <a:cubicBezTo>
                    <a:pt x="859" y="0"/>
                    <a:pt x="859" y="0"/>
                    <a:pt x="859" y="0"/>
                  </a:cubicBezTo>
                  <a:cubicBezTo>
                    <a:pt x="1215" y="0"/>
                    <a:pt x="1505" y="290"/>
                    <a:pt x="1505" y="646"/>
                  </a:cubicBezTo>
                  <a:cubicBezTo>
                    <a:pt x="1505" y="1002"/>
                    <a:pt x="1215" y="1292"/>
                    <a:pt x="859" y="1292"/>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 name="Freeform 11"/>
            <p:cNvSpPr>
              <a:spLocks/>
            </p:cNvSpPr>
            <p:nvPr userDrawn="1"/>
          </p:nvSpPr>
          <p:spPr bwMode="auto">
            <a:xfrm flipH="1">
              <a:off x="442913" y="4857750"/>
              <a:ext cx="1854200" cy="1597025"/>
            </a:xfrm>
            <a:custGeom>
              <a:avLst/>
              <a:gdLst>
                <a:gd name="T0" fmla="*/ 665 w 1168"/>
                <a:gd name="T1" fmla="*/ 1006 h 1006"/>
                <a:gd name="T2" fmla="*/ 40 w 1168"/>
                <a:gd name="T3" fmla="*/ 1006 h 1006"/>
                <a:gd name="T4" fmla="*/ 0 w 1168"/>
                <a:gd name="T5" fmla="*/ 966 h 1006"/>
                <a:gd name="T6" fmla="*/ 40 w 1168"/>
                <a:gd name="T7" fmla="*/ 927 h 1006"/>
                <a:gd name="T8" fmla="*/ 665 w 1168"/>
                <a:gd name="T9" fmla="*/ 927 h 1006"/>
                <a:gd name="T10" fmla="*/ 1089 w 1168"/>
                <a:gd name="T11" fmla="*/ 503 h 1006"/>
                <a:gd name="T12" fmla="*/ 665 w 1168"/>
                <a:gd name="T13" fmla="*/ 79 h 1006"/>
                <a:gd name="T14" fmla="*/ 58 w 1168"/>
                <a:gd name="T15" fmla="*/ 79 h 1006"/>
                <a:gd name="T16" fmla="*/ 18 w 1168"/>
                <a:gd name="T17" fmla="*/ 40 h 1006"/>
                <a:gd name="T18" fmla="*/ 58 w 1168"/>
                <a:gd name="T19" fmla="*/ 0 h 1006"/>
                <a:gd name="T20" fmla="*/ 665 w 1168"/>
                <a:gd name="T21" fmla="*/ 0 h 1006"/>
                <a:gd name="T22" fmla="*/ 1168 w 1168"/>
                <a:gd name="T23" fmla="*/ 503 h 1006"/>
                <a:gd name="T24" fmla="*/ 665 w 1168"/>
                <a:gd name="T25" fmla="*/ 1006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8" h="1006">
                  <a:moveTo>
                    <a:pt x="665" y="1006"/>
                  </a:moveTo>
                  <a:cubicBezTo>
                    <a:pt x="40" y="1006"/>
                    <a:pt x="40" y="1006"/>
                    <a:pt x="40" y="1006"/>
                  </a:cubicBezTo>
                  <a:cubicBezTo>
                    <a:pt x="18" y="1006"/>
                    <a:pt x="0" y="988"/>
                    <a:pt x="0" y="966"/>
                  </a:cubicBezTo>
                  <a:cubicBezTo>
                    <a:pt x="0" y="945"/>
                    <a:pt x="18" y="927"/>
                    <a:pt x="40" y="927"/>
                  </a:cubicBezTo>
                  <a:cubicBezTo>
                    <a:pt x="665" y="927"/>
                    <a:pt x="665" y="927"/>
                    <a:pt x="665" y="927"/>
                  </a:cubicBezTo>
                  <a:cubicBezTo>
                    <a:pt x="899" y="927"/>
                    <a:pt x="1089" y="737"/>
                    <a:pt x="1089" y="503"/>
                  </a:cubicBezTo>
                  <a:cubicBezTo>
                    <a:pt x="1089" y="269"/>
                    <a:pt x="899" y="79"/>
                    <a:pt x="665" y="79"/>
                  </a:cubicBezTo>
                  <a:cubicBezTo>
                    <a:pt x="58" y="79"/>
                    <a:pt x="58" y="79"/>
                    <a:pt x="58" y="79"/>
                  </a:cubicBezTo>
                  <a:cubicBezTo>
                    <a:pt x="36" y="79"/>
                    <a:pt x="18" y="61"/>
                    <a:pt x="18" y="40"/>
                  </a:cubicBezTo>
                  <a:cubicBezTo>
                    <a:pt x="18" y="18"/>
                    <a:pt x="36" y="0"/>
                    <a:pt x="58" y="0"/>
                  </a:cubicBezTo>
                  <a:cubicBezTo>
                    <a:pt x="665" y="0"/>
                    <a:pt x="665" y="0"/>
                    <a:pt x="665" y="0"/>
                  </a:cubicBezTo>
                  <a:cubicBezTo>
                    <a:pt x="943" y="0"/>
                    <a:pt x="1168" y="226"/>
                    <a:pt x="1168" y="503"/>
                  </a:cubicBezTo>
                  <a:cubicBezTo>
                    <a:pt x="1168" y="780"/>
                    <a:pt x="943" y="1006"/>
                    <a:pt x="665" y="1006"/>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 name="Freeform 12"/>
            <p:cNvSpPr>
              <a:spLocks/>
            </p:cNvSpPr>
            <p:nvPr userDrawn="1"/>
          </p:nvSpPr>
          <p:spPr bwMode="auto">
            <a:xfrm flipH="1">
              <a:off x="703263" y="5080000"/>
              <a:ext cx="1333500" cy="1152525"/>
            </a:xfrm>
            <a:custGeom>
              <a:avLst/>
              <a:gdLst>
                <a:gd name="T0" fmla="*/ 477 w 840"/>
                <a:gd name="T1" fmla="*/ 726 h 726"/>
                <a:gd name="T2" fmla="*/ 40 w 840"/>
                <a:gd name="T3" fmla="*/ 726 h 726"/>
                <a:gd name="T4" fmla="*/ 0 w 840"/>
                <a:gd name="T5" fmla="*/ 687 h 726"/>
                <a:gd name="T6" fmla="*/ 40 w 840"/>
                <a:gd name="T7" fmla="*/ 647 h 726"/>
                <a:gd name="T8" fmla="*/ 477 w 840"/>
                <a:gd name="T9" fmla="*/ 647 h 726"/>
                <a:gd name="T10" fmla="*/ 761 w 840"/>
                <a:gd name="T11" fmla="*/ 363 h 726"/>
                <a:gd name="T12" fmla="*/ 477 w 840"/>
                <a:gd name="T13" fmla="*/ 79 h 726"/>
                <a:gd name="T14" fmla="*/ 52 w 840"/>
                <a:gd name="T15" fmla="*/ 79 h 726"/>
                <a:gd name="T16" fmla="*/ 13 w 840"/>
                <a:gd name="T17" fmla="*/ 39 h 726"/>
                <a:gd name="T18" fmla="*/ 52 w 840"/>
                <a:gd name="T19" fmla="*/ 0 h 726"/>
                <a:gd name="T20" fmla="*/ 477 w 840"/>
                <a:gd name="T21" fmla="*/ 0 h 726"/>
                <a:gd name="T22" fmla="*/ 840 w 840"/>
                <a:gd name="T23" fmla="*/ 363 h 726"/>
                <a:gd name="T24" fmla="*/ 477 w 840"/>
                <a:gd name="T25" fmla="*/ 726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0" h="726">
                  <a:moveTo>
                    <a:pt x="477" y="726"/>
                  </a:moveTo>
                  <a:cubicBezTo>
                    <a:pt x="40" y="726"/>
                    <a:pt x="40" y="726"/>
                    <a:pt x="40" y="726"/>
                  </a:cubicBezTo>
                  <a:cubicBezTo>
                    <a:pt x="18" y="726"/>
                    <a:pt x="0" y="709"/>
                    <a:pt x="0" y="687"/>
                  </a:cubicBezTo>
                  <a:cubicBezTo>
                    <a:pt x="0" y="665"/>
                    <a:pt x="18" y="647"/>
                    <a:pt x="40" y="647"/>
                  </a:cubicBezTo>
                  <a:cubicBezTo>
                    <a:pt x="477" y="647"/>
                    <a:pt x="477" y="647"/>
                    <a:pt x="477" y="647"/>
                  </a:cubicBezTo>
                  <a:cubicBezTo>
                    <a:pt x="634" y="647"/>
                    <a:pt x="761" y="520"/>
                    <a:pt x="761" y="363"/>
                  </a:cubicBezTo>
                  <a:cubicBezTo>
                    <a:pt x="761" y="206"/>
                    <a:pt x="634" y="79"/>
                    <a:pt x="477" y="79"/>
                  </a:cubicBezTo>
                  <a:cubicBezTo>
                    <a:pt x="52" y="79"/>
                    <a:pt x="52" y="79"/>
                    <a:pt x="52" y="79"/>
                  </a:cubicBezTo>
                  <a:cubicBezTo>
                    <a:pt x="30" y="79"/>
                    <a:pt x="13" y="61"/>
                    <a:pt x="13" y="39"/>
                  </a:cubicBezTo>
                  <a:cubicBezTo>
                    <a:pt x="13" y="17"/>
                    <a:pt x="30" y="0"/>
                    <a:pt x="52" y="0"/>
                  </a:cubicBezTo>
                  <a:cubicBezTo>
                    <a:pt x="477" y="0"/>
                    <a:pt x="477" y="0"/>
                    <a:pt x="477" y="0"/>
                  </a:cubicBezTo>
                  <a:cubicBezTo>
                    <a:pt x="677" y="0"/>
                    <a:pt x="840" y="163"/>
                    <a:pt x="840" y="363"/>
                  </a:cubicBezTo>
                  <a:cubicBezTo>
                    <a:pt x="840" y="563"/>
                    <a:pt x="677" y="726"/>
                    <a:pt x="477" y="726"/>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8" name="Rectangle 22"/>
            <p:cNvSpPr>
              <a:spLocks noChangeArrowheads="1"/>
            </p:cNvSpPr>
            <p:nvPr userDrawn="1"/>
          </p:nvSpPr>
          <p:spPr bwMode="auto">
            <a:xfrm flipH="1">
              <a:off x="1011238" y="973138"/>
              <a:ext cx="10169525" cy="4914900"/>
            </a:xfrm>
            <a:prstGeom prst="rect">
              <a:avLst/>
            </a:prstGeom>
            <a:solidFill>
              <a:schemeClr val="bg1"/>
            </a:solidFill>
            <a:ln>
              <a:noFill/>
            </a:ln>
            <a:effectLst>
              <a:outerShdw blurRad="304800" dist="50800" dir="5400000" algn="ctr" rotWithShape="0">
                <a:schemeClr val="tx1">
                  <a:alpha val="32000"/>
                </a:scheme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19" name="Rectangle 23"/>
            <p:cNvSpPr>
              <a:spLocks noChangeArrowheads="1"/>
            </p:cNvSpPr>
            <p:nvPr userDrawn="1"/>
          </p:nvSpPr>
          <p:spPr bwMode="auto">
            <a:xfrm flipH="1">
              <a:off x="1011238" y="973138"/>
              <a:ext cx="5230813" cy="49149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0" name="Freeform 24"/>
            <p:cNvSpPr>
              <a:spLocks/>
            </p:cNvSpPr>
            <p:nvPr userDrawn="1"/>
          </p:nvSpPr>
          <p:spPr bwMode="auto">
            <a:xfrm flipH="1">
              <a:off x="1217613" y="3757613"/>
              <a:ext cx="1985963" cy="1704975"/>
            </a:xfrm>
            <a:custGeom>
              <a:avLst/>
              <a:gdLst>
                <a:gd name="T0" fmla="*/ 714 w 1252"/>
                <a:gd name="T1" fmla="*/ 1074 h 1074"/>
                <a:gd name="T2" fmla="*/ 33 w 1252"/>
                <a:gd name="T3" fmla="*/ 1074 h 1074"/>
                <a:gd name="T4" fmla="*/ 0 w 1252"/>
                <a:gd name="T5" fmla="*/ 1042 h 1074"/>
                <a:gd name="T6" fmla="*/ 33 w 1252"/>
                <a:gd name="T7" fmla="*/ 1009 h 1074"/>
                <a:gd name="T8" fmla="*/ 714 w 1252"/>
                <a:gd name="T9" fmla="*/ 1009 h 1074"/>
                <a:gd name="T10" fmla="*/ 1186 w 1252"/>
                <a:gd name="T11" fmla="*/ 537 h 1074"/>
                <a:gd name="T12" fmla="*/ 714 w 1252"/>
                <a:gd name="T13" fmla="*/ 65 h 1074"/>
                <a:gd name="T14" fmla="*/ 52 w 1252"/>
                <a:gd name="T15" fmla="*/ 65 h 1074"/>
                <a:gd name="T16" fmla="*/ 19 w 1252"/>
                <a:gd name="T17" fmla="*/ 32 h 1074"/>
                <a:gd name="T18" fmla="*/ 52 w 1252"/>
                <a:gd name="T19" fmla="*/ 0 h 1074"/>
                <a:gd name="T20" fmla="*/ 714 w 1252"/>
                <a:gd name="T21" fmla="*/ 0 h 1074"/>
                <a:gd name="T22" fmla="*/ 1252 w 1252"/>
                <a:gd name="T23" fmla="*/ 537 h 1074"/>
                <a:gd name="T24" fmla="*/ 714 w 1252"/>
                <a:gd name="T25" fmla="*/ 107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2" h="1074">
                  <a:moveTo>
                    <a:pt x="714" y="1074"/>
                  </a:moveTo>
                  <a:cubicBezTo>
                    <a:pt x="33" y="1074"/>
                    <a:pt x="33" y="1074"/>
                    <a:pt x="33" y="1074"/>
                  </a:cubicBezTo>
                  <a:cubicBezTo>
                    <a:pt x="15" y="1074"/>
                    <a:pt x="0" y="1060"/>
                    <a:pt x="0" y="1042"/>
                  </a:cubicBezTo>
                  <a:cubicBezTo>
                    <a:pt x="0" y="1023"/>
                    <a:pt x="15" y="1009"/>
                    <a:pt x="33" y="1009"/>
                  </a:cubicBezTo>
                  <a:cubicBezTo>
                    <a:pt x="714" y="1009"/>
                    <a:pt x="714" y="1009"/>
                    <a:pt x="714" y="1009"/>
                  </a:cubicBezTo>
                  <a:cubicBezTo>
                    <a:pt x="974" y="1009"/>
                    <a:pt x="1186" y="797"/>
                    <a:pt x="1186" y="537"/>
                  </a:cubicBezTo>
                  <a:cubicBezTo>
                    <a:pt x="1186" y="277"/>
                    <a:pt x="974" y="65"/>
                    <a:pt x="714" y="65"/>
                  </a:cubicBezTo>
                  <a:cubicBezTo>
                    <a:pt x="52" y="65"/>
                    <a:pt x="52" y="65"/>
                    <a:pt x="52" y="65"/>
                  </a:cubicBezTo>
                  <a:cubicBezTo>
                    <a:pt x="34" y="65"/>
                    <a:pt x="19" y="51"/>
                    <a:pt x="19" y="32"/>
                  </a:cubicBezTo>
                  <a:cubicBezTo>
                    <a:pt x="19" y="14"/>
                    <a:pt x="34" y="0"/>
                    <a:pt x="52" y="0"/>
                  </a:cubicBezTo>
                  <a:cubicBezTo>
                    <a:pt x="714" y="0"/>
                    <a:pt x="714" y="0"/>
                    <a:pt x="714" y="0"/>
                  </a:cubicBezTo>
                  <a:cubicBezTo>
                    <a:pt x="1010" y="0"/>
                    <a:pt x="1252" y="241"/>
                    <a:pt x="1252" y="537"/>
                  </a:cubicBezTo>
                  <a:cubicBezTo>
                    <a:pt x="1252" y="833"/>
                    <a:pt x="1010" y="1074"/>
                    <a:pt x="714" y="107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1" name="Freeform 25"/>
            <p:cNvSpPr>
              <a:spLocks/>
            </p:cNvSpPr>
            <p:nvPr userDrawn="1"/>
          </p:nvSpPr>
          <p:spPr bwMode="auto">
            <a:xfrm flipH="1">
              <a:off x="1439863" y="3946525"/>
              <a:ext cx="1541463" cy="1327150"/>
            </a:xfrm>
            <a:custGeom>
              <a:avLst/>
              <a:gdLst>
                <a:gd name="T0" fmla="*/ 553 w 972"/>
                <a:gd name="T1" fmla="*/ 836 h 836"/>
                <a:gd name="T2" fmla="*/ 33 w 972"/>
                <a:gd name="T3" fmla="*/ 836 h 836"/>
                <a:gd name="T4" fmla="*/ 0 w 972"/>
                <a:gd name="T5" fmla="*/ 803 h 836"/>
                <a:gd name="T6" fmla="*/ 33 w 972"/>
                <a:gd name="T7" fmla="*/ 771 h 836"/>
                <a:gd name="T8" fmla="*/ 553 w 972"/>
                <a:gd name="T9" fmla="*/ 771 h 836"/>
                <a:gd name="T10" fmla="*/ 906 w 972"/>
                <a:gd name="T11" fmla="*/ 418 h 836"/>
                <a:gd name="T12" fmla="*/ 553 w 972"/>
                <a:gd name="T13" fmla="*/ 65 h 836"/>
                <a:gd name="T14" fmla="*/ 48 w 972"/>
                <a:gd name="T15" fmla="*/ 65 h 836"/>
                <a:gd name="T16" fmla="*/ 15 w 972"/>
                <a:gd name="T17" fmla="*/ 33 h 836"/>
                <a:gd name="T18" fmla="*/ 48 w 972"/>
                <a:gd name="T19" fmla="*/ 0 h 836"/>
                <a:gd name="T20" fmla="*/ 553 w 972"/>
                <a:gd name="T21" fmla="*/ 0 h 836"/>
                <a:gd name="T22" fmla="*/ 972 w 972"/>
                <a:gd name="T23" fmla="*/ 418 h 836"/>
                <a:gd name="T24" fmla="*/ 553 w 972"/>
                <a:gd name="T25" fmla="*/ 8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2" h="836">
                  <a:moveTo>
                    <a:pt x="553" y="836"/>
                  </a:moveTo>
                  <a:cubicBezTo>
                    <a:pt x="33" y="836"/>
                    <a:pt x="33" y="836"/>
                    <a:pt x="33" y="836"/>
                  </a:cubicBezTo>
                  <a:cubicBezTo>
                    <a:pt x="14" y="836"/>
                    <a:pt x="0" y="822"/>
                    <a:pt x="0" y="803"/>
                  </a:cubicBezTo>
                  <a:cubicBezTo>
                    <a:pt x="0" y="785"/>
                    <a:pt x="14" y="771"/>
                    <a:pt x="33" y="771"/>
                  </a:cubicBezTo>
                  <a:cubicBezTo>
                    <a:pt x="553" y="771"/>
                    <a:pt x="553" y="771"/>
                    <a:pt x="553" y="771"/>
                  </a:cubicBezTo>
                  <a:cubicBezTo>
                    <a:pt x="748" y="771"/>
                    <a:pt x="906" y="612"/>
                    <a:pt x="906" y="418"/>
                  </a:cubicBezTo>
                  <a:cubicBezTo>
                    <a:pt x="906" y="224"/>
                    <a:pt x="748" y="65"/>
                    <a:pt x="553" y="65"/>
                  </a:cubicBezTo>
                  <a:cubicBezTo>
                    <a:pt x="48" y="65"/>
                    <a:pt x="48" y="65"/>
                    <a:pt x="48" y="65"/>
                  </a:cubicBezTo>
                  <a:cubicBezTo>
                    <a:pt x="29" y="65"/>
                    <a:pt x="15" y="51"/>
                    <a:pt x="15" y="33"/>
                  </a:cubicBezTo>
                  <a:cubicBezTo>
                    <a:pt x="15" y="14"/>
                    <a:pt x="29" y="0"/>
                    <a:pt x="48" y="0"/>
                  </a:cubicBezTo>
                  <a:cubicBezTo>
                    <a:pt x="553" y="0"/>
                    <a:pt x="553" y="0"/>
                    <a:pt x="553" y="0"/>
                  </a:cubicBezTo>
                  <a:cubicBezTo>
                    <a:pt x="784" y="0"/>
                    <a:pt x="972" y="187"/>
                    <a:pt x="972" y="418"/>
                  </a:cubicBezTo>
                  <a:cubicBezTo>
                    <a:pt x="972" y="649"/>
                    <a:pt x="784" y="836"/>
                    <a:pt x="553" y="8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 name="Freeform 26"/>
            <p:cNvSpPr>
              <a:spLocks/>
            </p:cNvSpPr>
            <p:nvPr userDrawn="1"/>
          </p:nvSpPr>
          <p:spPr bwMode="auto">
            <a:xfrm flipH="1">
              <a:off x="1657351" y="4130675"/>
              <a:ext cx="1108075" cy="958850"/>
            </a:xfrm>
            <a:custGeom>
              <a:avLst/>
              <a:gdLst>
                <a:gd name="T0" fmla="*/ 397 w 699"/>
                <a:gd name="T1" fmla="*/ 604 h 604"/>
                <a:gd name="T2" fmla="*/ 33 w 699"/>
                <a:gd name="T3" fmla="*/ 604 h 604"/>
                <a:gd name="T4" fmla="*/ 0 w 699"/>
                <a:gd name="T5" fmla="*/ 571 h 604"/>
                <a:gd name="T6" fmla="*/ 33 w 699"/>
                <a:gd name="T7" fmla="*/ 539 h 604"/>
                <a:gd name="T8" fmla="*/ 397 w 699"/>
                <a:gd name="T9" fmla="*/ 539 h 604"/>
                <a:gd name="T10" fmla="*/ 633 w 699"/>
                <a:gd name="T11" fmla="*/ 302 h 604"/>
                <a:gd name="T12" fmla="*/ 397 w 699"/>
                <a:gd name="T13" fmla="*/ 66 h 604"/>
                <a:gd name="T14" fmla="*/ 44 w 699"/>
                <a:gd name="T15" fmla="*/ 66 h 604"/>
                <a:gd name="T16" fmla="*/ 11 w 699"/>
                <a:gd name="T17" fmla="*/ 33 h 604"/>
                <a:gd name="T18" fmla="*/ 44 w 699"/>
                <a:gd name="T19" fmla="*/ 0 h 604"/>
                <a:gd name="T20" fmla="*/ 397 w 699"/>
                <a:gd name="T21" fmla="*/ 0 h 604"/>
                <a:gd name="T22" fmla="*/ 699 w 699"/>
                <a:gd name="T23" fmla="*/ 302 h 604"/>
                <a:gd name="T24" fmla="*/ 397 w 699"/>
                <a:gd name="T25"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9" h="604">
                  <a:moveTo>
                    <a:pt x="397" y="604"/>
                  </a:moveTo>
                  <a:cubicBezTo>
                    <a:pt x="33" y="604"/>
                    <a:pt x="33" y="604"/>
                    <a:pt x="33" y="604"/>
                  </a:cubicBezTo>
                  <a:cubicBezTo>
                    <a:pt x="15" y="604"/>
                    <a:pt x="0" y="590"/>
                    <a:pt x="0" y="571"/>
                  </a:cubicBezTo>
                  <a:cubicBezTo>
                    <a:pt x="0" y="553"/>
                    <a:pt x="15" y="539"/>
                    <a:pt x="33" y="539"/>
                  </a:cubicBezTo>
                  <a:cubicBezTo>
                    <a:pt x="397" y="539"/>
                    <a:pt x="397" y="539"/>
                    <a:pt x="397" y="539"/>
                  </a:cubicBezTo>
                  <a:cubicBezTo>
                    <a:pt x="527" y="539"/>
                    <a:pt x="633" y="432"/>
                    <a:pt x="633" y="302"/>
                  </a:cubicBezTo>
                  <a:cubicBezTo>
                    <a:pt x="633" y="172"/>
                    <a:pt x="527" y="66"/>
                    <a:pt x="397" y="66"/>
                  </a:cubicBezTo>
                  <a:cubicBezTo>
                    <a:pt x="44" y="66"/>
                    <a:pt x="44" y="66"/>
                    <a:pt x="44" y="66"/>
                  </a:cubicBezTo>
                  <a:cubicBezTo>
                    <a:pt x="25" y="66"/>
                    <a:pt x="11" y="51"/>
                    <a:pt x="11" y="33"/>
                  </a:cubicBezTo>
                  <a:cubicBezTo>
                    <a:pt x="11" y="15"/>
                    <a:pt x="25" y="0"/>
                    <a:pt x="44" y="0"/>
                  </a:cubicBezTo>
                  <a:cubicBezTo>
                    <a:pt x="397" y="0"/>
                    <a:pt x="397" y="0"/>
                    <a:pt x="397" y="0"/>
                  </a:cubicBezTo>
                  <a:cubicBezTo>
                    <a:pt x="564" y="0"/>
                    <a:pt x="699" y="135"/>
                    <a:pt x="699" y="302"/>
                  </a:cubicBezTo>
                  <a:cubicBezTo>
                    <a:pt x="699" y="469"/>
                    <a:pt x="564" y="604"/>
                    <a:pt x="397" y="6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27"/>
            <p:cNvSpPr>
              <a:spLocks/>
            </p:cNvSpPr>
            <p:nvPr userDrawn="1"/>
          </p:nvSpPr>
          <p:spPr bwMode="auto">
            <a:xfrm flipH="1">
              <a:off x="4049713" y="1749425"/>
              <a:ext cx="1985963" cy="1706563"/>
            </a:xfrm>
            <a:custGeom>
              <a:avLst/>
              <a:gdLst>
                <a:gd name="T0" fmla="*/ 1218 w 1251"/>
                <a:gd name="T1" fmla="*/ 1075 h 1075"/>
                <a:gd name="T2" fmla="*/ 537 w 1251"/>
                <a:gd name="T3" fmla="*/ 1075 h 1075"/>
                <a:gd name="T4" fmla="*/ 0 w 1251"/>
                <a:gd name="T5" fmla="*/ 537 h 1075"/>
                <a:gd name="T6" fmla="*/ 537 w 1251"/>
                <a:gd name="T7" fmla="*/ 0 h 1075"/>
                <a:gd name="T8" fmla="*/ 1199 w 1251"/>
                <a:gd name="T9" fmla="*/ 0 h 1075"/>
                <a:gd name="T10" fmla="*/ 1232 w 1251"/>
                <a:gd name="T11" fmla="*/ 33 h 1075"/>
                <a:gd name="T12" fmla="*/ 1199 w 1251"/>
                <a:gd name="T13" fmla="*/ 66 h 1075"/>
                <a:gd name="T14" fmla="*/ 537 w 1251"/>
                <a:gd name="T15" fmla="*/ 66 h 1075"/>
                <a:gd name="T16" fmla="*/ 65 w 1251"/>
                <a:gd name="T17" fmla="*/ 537 h 1075"/>
                <a:gd name="T18" fmla="*/ 537 w 1251"/>
                <a:gd name="T19" fmla="*/ 1009 h 1075"/>
                <a:gd name="T20" fmla="*/ 1218 w 1251"/>
                <a:gd name="T21" fmla="*/ 1009 h 1075"/>
                <a:gd name="T22" fmla="*/ 1251 w 1251"/>
                <a:gd name="T23" fmla="*/ 1042 h 1075"/>
                <a:gd name="T24" fmla="*/ 1218 w 1251"/>
                <a:gd name="T25" fmla="*/ 1075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1" h="1075">
                  <a:moveTo>
                    <a:pt x="1218" y="1075"/>
                  </a:moveTo>
                  <a:cubicBezTo>
                    <a:pt x="537" y="1075"/>
                    <a:pt x="537" y="1075"/>
                    <a:pt x="537" y="1075"/>
                  </a:cubicBezTo>
                  <a:cubicBezTo>
                    <a:pt x="241" y="1075"/>
                    <a:pt x="0" y="834"/>
                    <a:pt x="0" y="537"/>
                  </a:cubicBezTo>
                  <a:cubicBezTo>
                    <a:pt x="0" y="241"/>
                    <a:pt x="241" y="0"/>
                    <a:pt x="537" y="0"/>
                  </a:cubicBezTo>
                  <a:cubicBezTo>
                    <a:pt x="1199" y="0"/>
                    <a:pt x="1199" y="0"/>
                    <a:pt x="1199" y="0"/>
                  </a:cubicBezTo>
                  <a:cubicBezTo>
                    <a:pt x="1217" y="0"/>
                    <a:pt x="1232" y="15"/>
                    <a:pt x="1232" y="33"/>
                  </a:cubicBezTo>
                  <a:cubicBezTo>
                    <a:pt x="1232" y="51"/>
                    <a:pt x="1217" y="66"/>
                    <a:pt x="1199" y="66"/>
                  </a:cubicBezTo>
                  <a:cubicBezTo>
                    <a:pt x="537" y="66"/>
                    <a:pt x="537" y="66"/>
                    <a:pt x="537" y="66"/>
                  </a:cubicBezTo>
                  <a:cubicBezTo>
                    <a:pt x="277" y="66"/>
                    <a:pt x="65" y="277"/>
                    <a:pt x="65" y="537"/>
                  </a:cubicBezTo>
                  <a:cubicBezTo>
                    <a:pt x="65" y="797"/>
                    <a:pt x="277" y="1009"/>
                    <a:pt x="537" y="1009"/>
                  </a:cubicBezTo>
                  <a:cubicBezTo>
                    <a:pt x="1218" y="1009"/>
                    <a:pt x="1218" y="1009"/>
                    <a:pt x="1218" y="1009"/>
                  </a:cubicBezTo>
                  <a:cubicBezTo>
                    <a:pt x="1237" y="1009"/>
                    <a:pt x="1251" y="1024"/>
                    <a:pt x="1251" y="1042"/>
                  </a:cubicBezTo>
                  <a:cubicBezTo>
                    <a:pt x="1251" y="1060"/>
                    <a:pt x="1237" y="1075"/>
                    <a:pt x="1218" y="10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4" name="Freeform 28"/>
            <p:cNvSpPr>
              <a:spLocks/>
            </p:cNvSpPr>
            <p:nvPr userDrawn="1"/>
          </p:nvSpPr>
          <p:spPr bwMode="auto">
            <a:xfrm flipH="1">
              <a:off x="4271963" y="1938338"/>
              <a:ext cx="1541463" cy="1328738"/>
            </a:xfrm>
            <a:custGeom>
              <a:avLst/>
              <a:gdLst>
                <a:gd name="T0" fmla="*/ 938 w 971"/>
                <a:gd name="T1" fmla="*/ 837 h 837"/>
                <a:gd name="T2" fmla="*/ 418 w 971"/>
                <a:gd name="T3" fmla="*/ 837 h 837"/>
                <a:gd name="T4" fmla="*/ 0 w 971"/>
                <a:gd name="T5" fmla="*/ 418 h 837"/>
                <a:gd name="T6" fmla="*/ 418 w 971"/>
                <a:gd name="T7" fmla="*/ 0 h 837"/>
                <a:gd name="T8" fmla="*/ 923 w 971"/>
                <a:gd name="T9" fmla="*/ 0 h 837"/>
                <a:gd name="T10" fmla="*/ 956 w 971"/>
                <a:gd name="T11" fmla="*/ 33 h 837"/>
                <a:gd name="T12" fmla="*/ 923 w 971"/>
                <a:gd name="T13" fmla="*/ 66 h 837"/>
                <a:gd name="T14" fmla="*/ 418 w 971"/>
                <a:gd name="T15" fmla="*/ 66 h 837"/>
                <a:gd name="T16" fmla="*/ 65 w 971"/>
                <a:gd name="T17" fmla="*/ 418 h 837"/>
                <a:gd name="T18" fmla="*/ 418 w 971"/>
                <a:gd name="T19" fmla="*/ 771 h 837"/>
                <a:gd name="T20" fmla="*/ 938 w 971"/>
                <a:gd name="T21" fmla="*/ 771 h 837"/>
                <a:gd name="T22" fmla="*/ 971 w 971"/>
                <a:gd name="T23" fmla="*/ 804 h 837"/>
                <a:gd name="T24" fmla="*/ 938 w 971"/>
                <a:gd name="T25" fmla="*/ 837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837">
                  <a:moveTo>
                    <a:pt x="938" y="837"/>
                  </a:moveTo>
                  <a:cubicBezTo>
                    <a:pt x="418" y="837"/>
                    <a:pt x="418" y="837"/>
                    <a:pt x="418" y="837"/>
                  </a:cubicBezTo>
                  <a:cubicBezTo>
                    <a:pt x="187" y="837"/>
                    <a:pt x="0" y="649"/>
                    <a:pt x="0" y="418"/>
                  </a:cubicBezTo>
                  <a:cubicBezTo>
                    <a:pt x="0" y="188"/>
                    <a:pt x="187" y="0"/>
                    <a:pt x="418" y="0"/>
                  </a:cubicBezTo>
                  <a:cubicBezTo>
                    <a:pt x="923" y="0"/>
                    <a:pt x="923" y="0"/>
                    <a:pt x="923" y="0"/>
                  </a:cubicBezTo>
                  <a:cubicBezTo>
                    <a:pt x="942" y="0"/>
                    <a:pt x="956" y="15"/>
                    <a:pt x="956" y="33"/>
                  </a:cubicBezTo>
                  <a:cubicBezTo>
                    <a:pt x="956" y="51"/>
                    <a:pt x="942" y="66"/>
                    <a:pt x="923" y="66"/>
                  </a:cubicBezTo>
                  <a:cubicBezTo>
                    <a:pt x="418" y="66"/>
                    <a:pt x="418" y="66"/>
                    <a:pt x="418" y="66"/>
                  </a:cubicBezTo>
                  <a:cubicBezTo>
                    <a:pt x="223" y="66"/>
                    <a:pt x="65" y="224"/>
                    <a:pt x="65" y="418"/>
                  </a:cubicBezTo>
                  <a:cubicBezTo>
                    <a:pt x="65" y="613"/>
                    <a:pt x="223" y="771"/>
                    <a:pt x="418" y="771"/>
                  </a:cubicBezTo>
                  <a:cubicBezTo>
                    <a:pt x="938" y="771"/>
                    <a:pt x="938" y="771"/>
                    <a:pt x="938" y="771"/>
                  </a:cubicBezTo>
                  <a:cubicBezTo>
                    <a:pt x="957" y="771"/>
                    <a:pt x="971" y="786"/>
                    <a:pt x="971" y="804"/>
                  </a:cubicBezTo>
                  <a:cubicBezTo>
                    <a:pt x="971" y="822"/>
                    <a:pt x="957" y="837"/>
                    <a:pt x="938" y="8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 name="Freeform 29"/>
            <p:cNvSpPr>
              <a:spLocks/>
            </p:cNvSpPr>
            <p:nvPr userDrawn="1"/>
          </p:nvSpPr>
          <p:spPr bwMode="auto">
            <a:xfrm flipH="1">
              <a:off x="4487863" y="2122488"/>
              <a:ext cx="1109663" cy="960438"/>
            </a:xfrm>
            <a:custGeom>
              <a:avLst/>
              <a:gdLst>
                <a:gd name="T0" fmla="*/ 666 w 699"/>
                <a:gd name="T1" fmla="*/ 605 h 605"/>
                <a:gd name="T2" fmla="*/ 302 w 699"/>
                <a:gd name="T3" fmla="*/ 605 h 605"/>
                <a:gd name="T4" fmla="*/ 0 w 699"/>
                <a:gd name="T5" fmla="*/ 302 h 605"/>
                <a:gd name="T6" fmla="*/ 302 w 699"/>
                <a:gd name="T7" fmla="*/ 0 h 605"/>
                <a:gd name="T8" fmla="*/ 656 w 699"/>
                <a:gd name="T9" fmla="*/ 0 h 605"/>
                <a:gd name="T10" fmla="*/ 688 w 699"/>
                <a:gd name="T11" fmla="*/ 33 h 605"/>
                <a:gd name="T12" fmla="*/ 656 w 699"/>
                <a:gd name="T13" fmla="*/ 66 h 605"/>
                <a:gd name="T14" fmla="*/ 302 w 699"/>
                <a:gd name="T15" fmla="*/ 66 h 605"/>
                <a:gd name="T16" fmla="*/ 66 w 699"/>
                <a:gd name="T17" fmla="*/ 302 h 605"/>
                <a:gd name="T18" fmla="*/ 302 w 699"/>
                <a:gd name="T19" fmla="*/ 539 h 605"/>
                <a:gd name="T20" fmla="*/ 666 w 699"/>
                <a:gd name="T21" fmla="*/ 539 h 605"/>
                <a:gd name="T22" fmla="*/ 699 w 699"/>
                <a:gd name="T23" fmla="*/ 572 h 605"/>
                <a:gd name="T24" fmla="*/ 666 w 699"/>
                <a:gd name="T25" fmla="*/ 605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9" h="605">
                  <a:moveTo>
                    <a:pt x="666" y="605"/>
                  </a:moveTo>
                  <a:cubicBezTo>
                    <a:pt x="302" y="605"/>
                    <a:pt x="302" y="605"/>
                    <a:pt x="302" y="605"/>
                  </a:cubicBezTo>
                  <a:cubicBezTo>
                    <a:pt x="136" y="605"/>
                    <a:pt x="0" y="469"/>
                    <a:pt x="0" y="302"/>
                  </a:cubicBezTo>
                  <a:cubicBezTo>
                    <a:pt x="0" y="136"/>
                    <a:pt x="136" y="0"/>
                    <a:pt x="302" y="0"/>
                  </a:cubicBezTo>
                  <a:cubicBezTo>
                    <a:pt x="656" y="0"/>
                    <a:pt x="656" y="0"/>
                    <a:pt x="656" y="0"/>
                  </a:cubicBezTo>
                  <a:cubicBezTo>
                    <a:pt x="674" y="0"/>
                    <a:pt x="688" y="15"/>
                    <a:pt x="688" y="33"/>
                  </a:cubicBezTo>
                  <a:cubicBezTo>
                    <a:pt x="688" y="51"/>
                    <a:pt x="674" y="66"/>
                    <a:pt x="656" y="66"/>
                  </a:cubicBezTo>
                  <a:cubicBezTo>
                    <a:pt x="302" y="66"/>
                    <a:pt x="302" y="66"/>
                    <a:pt x="302" y="66"/>
                  </a:cubicBezTo>
                  <a:cubicBezTo>
                    <a:pt x="172" y="66"/>
                    <a:pt x="66" y="172"/>
                    <a:pt x="66" y="302"/>
                  </a:cubicBezTo>
                  <a:cubicBezTo>
                    <a:pt x="66" y="433"/>
                    <a:pt x="172" y="539"/>
                    <a:pt x="302" y="539"/>
                  </a:cubicBezTo>
                  <a:cubicBezTo>
                    <a:pt x="666" y="539"/>
                    <a:pt x="666" y="539"/>
                    <a:pt x="666" y="539"/>
                  </a:cubicBezTo>
                  <a:cubicBezTo>
                    <a:pt x="684" y="539"/>
                    <a:pt x="699" y="554"/>
                    <a:pt x="699" y="572"/>
                  </a:cubicBezTo>
                  <a:cubicBezTo>
                    <a:pt x="699" y="590"/>
                    <a:pt x="684" y="605"/>
                    <a:pt x="666" y="6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6" name="Rectangle 30"/>
            <p:cNvSpPr>
              <a:spLocks noChangeArrowheads="1"/>
            </p:cNvSpPr>
            <p:nvPr userDrawn="1"/>
          </p:nvSpPr>
          <p:spPr bwMode="auto">
            <a:xfrm flipH="1">
              <a:off x="2682875" y="3700463"/>
              <a:ext cx="192088" cy="228600"/>
            </a:xfrm>
            <a:prstGeom prst="rect">
              <a:avLst/>
            </a:prstGeom>
            <a:solidFill>
              <a:srgbClr val="2763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Rectangle 31"/>
            <p:cNvSpPr>
              <a:spLocks noChangeArrowheads="1"/>
            </p:cNvSpPr>
            <p:nvPr userDrawn="1"/>
          </p:nvSpPr>
          <p:spPr bwMode="auto">
            <a:xfrm flipH="1">
              <a:off x="2682875" y="3870325"/>
              <a:ext cx="192088" cy="58738"/>
            </a:xfrm>
            <a:prstGeom prst="rect">
              <a:avLst/>
            </a:prstGeom>
            <a:solidFill>
              <a:srgbClr val="155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Rectangle 32"/>
            <p:cNvSpPr>
              <a:spLocks noChangeArrowheads="1"/>
            </p:cNvSpPr>
            <p:nvPr userDrawn="1"/>
          </p:nvSpPr>
          <p:spPr bwMode="auto">
            <a:xfrm flipH="1">
              <a:off x="2603500" y="3927475"/>
              <a:ext cx="350838" cy="114300"/>
            </a:xfrm>
            <a:prstGeom prst="rect">
              <a:avLst/>
            </a:prstGeom>
            <a:solidFill>
              <a:srgbClr val="2763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Rectangle 33"/>
            <p:cNvSpPr>
              <a:spLocks noChangeArrowheads="1"/>
            </p:cNvSpPr>
            <p:nvPr userDrawn="1"/>
          </p:nvSpPr>
          <p:spPr bwMode="auto">
            <a:xfrm flipH="1">
              <a:off x="2603500" y="3998913"/>
              <a:ext cx="350838" cy="42863"/>
            </a:xfrm>
            <a:prstGeom prst="rect">
              <a:avLst/>
            </a:prstGeom>
            <a:solidFill>
              <a:srgbClr val="155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Rectangle 34"/>
            <p:cNvSpPr>
              <a:spLocks noChangeArrowheads="1"/>
            </p:cNvSpPr>
            <p:nvPr userDrawn="1"/>
          </p:nvSpPr>
          <p:spPr bwMode="auto">
            <a:xfrm flipH="1">
              <a:off x="2430463" y="4041775"/>
              <a:ext cx="698500" cy="147638"/>
            </a:xfrm>
            <a:prstGeom prst="rect">
              <a:avLst/>
            </a:prstGeom>
            <a:solidFill>
              <a:srgbClr val="2763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35"/>
            <p:cNvSpPr>
              <a:spLocks noChangeArrowheads="1"/>
            </p:cNvSpPr>
            <p:nvPr userDrawn="1"/>
          </p:nvSpPr>
          <p:spPr bwMode="auto">
            <a:xfrm flipH="1">
              <a:off x="2430463" y="4133850"/>
              <a:ext cx="698500" cy="55563"/>
            </a:xfrm>
            <a:prstGeom prst="rect">
              <a:avLst/>
            </a:prstGeom>
            <a:solidFill>
              <a:srgbClr val="155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36"/>
            <p:cNvSpPr>
              <a:spLocks/>
            </p:cNvSpPr>
            <p:nvPr userDrawn="1"/>
          </p:nvSpPr>
          <p:spPr bwMode="auto">
            <a:xfrm flipH="1">
              <a:off x="2197100" y="1685925"/>
              <a:ext cx="1214438" cy="2058988"/>
            </a:xfrm>
            <a:custGeom>
              <a:avLst/>
              <a:gdLst>
                <a:gd name="T0" fmla="*/ 755 w 766"/>
                <a:gd name="T1" fmla="*/ 1293 h 1297"/>
                <a:gd name="T2" fmla="*/ 762 w 766"/>
                <a:gd name="T3" fmla="*/ 1269 h 1297"/>
                <a:gd name="T4" fmla="*/ 35 w 766"/>
                <a:gd name="T5" fmla="*/ 11 h 1297"/>
                <a:gd name="T6" fmla="*/ 12 w 766"/>
                <a:gd name="T7" fmla="*/ 4 h 1297"/>
                <a:gd name="T8" fmla="*/ 5 w 766"/>
                <a:gd name="T9" fmla="*/ 28 h 1297"/>
                <a:gd name="T10" fmla="*/ 732 w 766"/>
                <a:gd name="T11" fmla="*/ 1286 h 1297"/>
                <a:gd name="T12" fmla="*/ 755 w 766"/>
                <a:gd name="T13" fmla="*/ 1293 h 1297"/>
              </a:gdLst>
              <a:ahLst/>
              <a:cxnLst>
                <a:cxn ang="0">
                  <a:pos x="T0" y="T1"/>
                </a:cxn>
                <a:cxn ang="0">
                  <a:pos x="T2" y="T3"/>
                </a:cxn>
                <a:cxn ang="0">
                  <a:pos x="T4" y="T5"/>
                </a:cxn>
                <a:cxn ang="0">
                  <a:pos x="T6" y="T7"/>
                </a:cxn>
                <a:cxn ang="0">
                  <a:pos x="T8" y="T9"/>
                </a:cxn>
                <a:cxn ang="0">
                  <a:pos x="T10" y="T11"/>
                </a:cxn>
                <a:cxn ang="0">
                  <a:pos x="T12" y="T13"/>
                </a:cxn>
              </a:cxnLst>
              <a:rect l="0" t="0" r="r" b="b"/>
              <a:pathLst>
                <a:path w="766" h="1297">
                  <a:moveTo>
                    <a:pt x="755" y="1293"/>
                  </a:moveTo>
                  <a:cubicBezTo>
                    <a:pt x="764" y="1288"/>
                    <a:pt x="766" y="1277"/>
                    <a:pt x="762" y="1269"/>
                  </a:cubicBezTo>
                  <a:cubicBezTo>
                    <a:pt x="35" y="11"/>
                    <a:pt x="35" y="11"/>
                    <a:pt x="35" y="11"/>
                  </a:cubicBezTo>
                  <a:cubicBezTo>
                    <a:pt x="30" y="2"/>
                    <a:pt x="20" y="0"/>
                    <a:pt x="12" y="4"/>
                  </a:cubicBezTo>
                  <a:cubicBezTo>
                    <a:pt x="3" y="9"/>
                    <a:pt x="0" y="20"/>
                    <a:pt x="5" y="28"/>
                  </a:cubicBezTo>
                  <a:cubicBezTo>
                    <a:pt x="732" y="1286"/>
                    <a:pt x="732" y="1286"/>
                    <a:pt x="732" y="1286"/>
                  </a:cubicBezTo>
                  <a:cubicBezTo>
                    <a:pt x="736" y="1294"/>
                    <a:pt x="747" y="1297"/>
                    <a:pt x="755" y="129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3" name="Freeform 39"/>
            <p:cNvSpPr>
              <a:spLocks/>
            </p:cNvSpPr>
            <p:nvPr userDrawn="1"/>
          </p:nvSpPr>
          <p:spPr bwMode="auto">
            <a:xfrm flipH="1">
              <a:off x="2068513" y="1704975"/>
              <a:ext cx="1935163" cy="2189163"/>
            </a:xfrm>
            <a:custGeom>
              <a:avLst/>
              <a:gdLst>
                <a:gd name="T0" fmla="*/ 1070 w 1220"/>
                <a:gd name="T1" fmla="*/ 1200 h 1379"/>
                <a:gd name="T2" fmla="*/ 1209 w 1220"/>
                <a:gd name="T3" fmla="*/ 1092 h 1379"/>
                <a:gd name="T4" fmla="*/ 1209 w 1220"/>
                <a:gd name="T5" fmla="*/ 1051 h 1379"/>
                <a:gd name="T6" fmla="*/ 1168 w 1220"/>
                <a:gd name="T7" fmla="*/ 1052 h 1379"/>
                <a:gd name="T8" fmla="*/ 1041 w 1220"/>
                <a:gd name="T9" fmla="*/ 1150 h 1379"/>
                <a:gd name="T10" fmla="*/ 230 w 1220"/>
                <a:gd name="T11" fmla="*/ 932 h 1379"/>
                <a:gd name="T12" fmla="*/ 447 w 1220"/>
                <a:gd name="T13" fmla="*/ 121 h 1379"/>
                <a:gd name="T14" fmla="*/ 595 w 1220"/>
                <a:gd name="T15" fmla="*/ 60 h 1379"/>
                <a:gd name="T16" fmla="*/ 616 w 1220"/>
                <a:gd name="T17" fmla="*/ 25 h 1379"/>
                <a:gd name="T18" fmla="*/ 581 w 1220"/>
                <a:gd name="T19" fmla="*/ 4 h 1379"/>
                <a:gd name="T20" fmla="*/ 418 w 1220"/>
                <a:gd name="T21" fmla="*/ 71 h 1379"/>
                <a:gd name="T22" fmla="*/ 180 w 1220"/>
                <a:gd name="T23" fmla="*/ 961 h 1379"/>
                <a:gd name="T24" fmla="*/ 1070 w 1220"/>
                <a:gd name="T25" fmla="*/ 120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0" h="1379">
                  <a:moveTo>
                    <a:pt x="1070" y="1200"/>
                  </a:moveTo>
                  <a:cubicBezTo>
                    <a:pt x="1121" y="1170"/>
                    <a:pt x="1168" y="1134"/>
                    <a:pt x="1209" y="1092"/>
                  </a:cubicBezTo>
                  <a:cubicBezTo>
                    <a:pt x="1220" y="1081"/>
                    <a:pt x="1220" y="1063"/>
                    <a:pt x="1209" y="1051"/>
                  </a:cubicBezTo>
                  <a:cubicBezTo>
                    <a:pt x="1197" y="1040"/>
                    <a:pt x="1179" y="1040"/>
                    <a:pt x="1168" y="1052"/>
                  </a:cubicBezTo>
                  <a:cubicBezTo>
                    <a:pt x="1130" y="1090"/>
                    <a:pt x="1088" y="1123"/>
                    <a:pt x="1041" y="1150"/>
                  </a:cubicBezTo>
                  <a:cubicBezTo>
                    <a:pt x="758" y="1313"/>
                    <a:pt x="394" y="1216"/>
                    <a:pt x="230" y="932"/>
                  </a:cubicBezTo>
                  <a:cubicBezTo>
                    <a:pt x="66" y="649"/>
                    <a:pt x="164" y="285"/>
                    <a:pt x="447" y="121"/>
                  </a:cubicBezTo>
                  <a:cubicBezTo>
                    <a:pt x="494" y="94"/>
                    <a:pt x="544" y="73"/>
                    <a:pt x="595" y="60"/>
                  </a:cubicBezTo>
                  <a:cubicBezTo>
                    <a:pt x="611" y="56"/>
                    <a:pt x="620" y="40"/>
                    <a:pt x="616" y="25"/>
                  </a:cubicBezTo>
                  <a:cubicBezTo>
                    <a:pt x="612" y="9"/>
                    <a:pt x="596" y="0"/>
                    <a:pt x="581" y="4"/>
                  </a:cubicBezTo>
                  <a:cubicBezTo>
                    <a:pt x="524" y="19"/>
                    <a:pt x="469" y="41"/>
                    <a:pt x="418" y="71"/>
                  </a:cubicBezTo>
                  <a:cubicBezTo>
                    <a:pt x="107" y="250"/>
                    <a:pt x="0" y="650"/>
                    <a:pt x="180" y="961"/>
                  </a:cubicBezTo>
                  <a:cubicBezTo>
                    <a:pt x="359" y="1272"/>
                    <a:pt x="759" y="1379"/>
                    <a:pt x="1070" y="12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4" name="Freeform 40"/>
            <p:cNvSpPr>
              <a:spLocks/>
            </p:cNvSpPr>
            <p:nvPr userDrawn="1"/>
          </p:nvSpPr>
          <p:spPr bwMode="auto">
            <a:xfrm flipH="1">
              <a:off x="2087563" y="1746250"/>
              <a:ext cx="1863725" cy="2097088"/>
            </a:xfrm>
            <a:custGeom>
              <a:avLst/>
              <a:gdLst>
                <a:gd name="T0" fmla="*/ 400 w 1175"/>
                <a:gd name="T1" fmla="*/ 70 h 1321"/>
                <a:gd name="T2" fmla="*/ 583 w 1175"/>
                <a:gd name="T3" fmla="*/ 0 h 1321"/>
                <a:gd name="T4" fmla="*/ 562 w 1175"/>
                <a:gd name="T5" fmla="*/ 34 h 1321"/>
                <a:gd name="T6" fmla="*/ 414 w 1175"/>
                <a:gd name="T7" fmla="*/ 95 h 1321"/>
                <a:gd name="T8" fmla="*/ 197 w 1175"/>
                <a:gd name="T9" fmla="*/ 906 h 1321"/>
                <a:gd name="T10" fmla="*/ 1008 w 1175"/>
                <a:gd name="T11" fmla="*/ 1124 h 1321"/>
                <a:gd name="T12" fmla="*/ 1135 w 1175"/>
                <a:gd name="T13" fmla="*/ 1026 h 1321"/>
                <a:gd name="T14" fmla="*/ 1175 w 1175"/>
                <a:gd name="T15" fmla="*/ 1025 h 1321"/>
                <a:gd name="T16" fmla="*/ 1023 w 1175"/>
                <a:gd name="T17" fmla="*/ 1149 h 1321"/>
                <a:gd name="T18" fmla="*/ 172 w 1175"/>
                <a:gd name="T19" fmla="*/ 921 h 1321"/>
                <a:gd name="T20" fmla="*/ 400 w 1175"/>
                <a:gd name="T21" fmla="*/ 70 h 1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5" h="1321">
                  <a:moveTo>
                    <a:pt x="400" y="70"/>
                  </a:moveTo>
                  <a:cubicBezTo>
                    <a:pt x="458" y="36"/>
                    <a:pt x="520" y="13"/>
                    <a:pt x="583" y="0"/>
                  </a:cubicBezTo>
                  <a:cubicBezTo>
                    <a:pt x="587" y="15"/>
                    <a:pt x="578" y="30"/>
                    <a:pt x="562" y="34"/>
                  </a:cubicBezTo>
                  <a:cubicBezTo>
                    <a:pt x="511" y="47"/>
                    <a:pt x="461" y="68"/>
                    <a:pt x="414" y="95"/>
                  </a:cubicBezTo>
                  <a:cubicBezTo>
                    <a:pt x="131" y="259"/>
                    <a:pt x="33" y="623"/>
                    <a:pt x="197" y="906"/>
                  </a:cubicBezTo>
                  <a:cubicBezTo>
                    <a:pt x="361" y="1190"/>
                    <a:pt x="725" y="1287"/>
                    <a:pt x="1008" y="1124"/>
                  </a:cubicBezTo>
                  <a:cubicBezTo>
                    <a:pt x="1055" y="1097"/>
                    <a:pt x="1097" y="1064"/>
                    <a:pt x="1135" y="1026"/>
                  </a:cubicBezTo>
                  <a:cubicBezTo>
                    <a:pt x="1146" y="1015"/>
                    <a:pt x="1164" y="1014"/>
                    <a:pt x="1175" y="1025"/>
                  </a:cubicBezTo>
                  <a:cubicBezTo>
                    <a:pt x="1132" y="1073"/>
                    <a:pt x="1081" y="1115"/>
                    <a:pt x="1023" y="1149"/>
                  </a:cubicBezTo>
                  <a:cubicBezTo>
                    <a:pt x="725" y="1321"/>
                    <a:pt x="344" y="1219"/>
                    <a:pt x="172" y="921"/>
                  </a:cubicBezTo>
                  <a:cubicBezTo>
                    <a:pt x="0" y="623"/>
                    <a:pt x="102" y="242"/>
                    <a:pt x="400" y="70"/>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5" name="Freeform 41"/>
            <p:cNvSpPr>
              <a:spLocks/>
            </p:cNvSpPr>
            <p:nvPr userDrawn="1"/>
          </p:nvSpPr>
          <p:spPr bwMode="auto">
            <a:xfrm flipH="1">
              <a:off x="1893888" y="1784350"/>
              <a:ext cx="1857375" cy="1857375"/>
            </a:xfrm>
            <a:custGeom>
              <a:avLst/>
              <a:gdLst>
                <a:gd name="T0" fmla="*/ 141 w 1171"/>
                <a:gd name="T1" fmla="*/ 841 h 1170"/>
                <a:gd name="T2" fmla="*/ 841 w 1171"/>
                <a:gd name="T3" fmla="*/ 1029 h 1170"/>
                <a:gd name="T4" fmla="*/ 1029 w 1171"/>
                <a:gd name="T5" fmla="*/ 329 h 1170"/>
                <a:gd name="T6" fmla="*/ 329 w 1171"/>
                <a:gd name="T7" fmla="*/ 141 h 1170"/>
                <a:gd name="T8" fmla="*/ 141 w 1171"/>
                <a:gd name="T9" fmla="*/ 841 h 1170"/>
              </a:gdLst>
              <a:ahLst/>
              <a:cxnLst>
                <a:cxn ang="0">
                  <a:pos x="T0" y="T1"/>
                </a:cxn>
                <a:cxn ang="0">
                  <a:pos x="T2" y="T3"/>
                </a:cxn>
                <a:cxn ang="0">
                  <a:pos x="T4" y="T5"/>
                </a:cxn>
                <a:cxn ang="0">
                  <a:pos x="T6" y="T7"/>
                </a:cxn>
                <a:cxn ang="0">
                  <a:pos x="T8" y="T9"/>
                </a:cxn>
              </a:cxnLst>
              <a:rect l="0" t="0" r="r" b="b"/>
              <a:pathLst>
                <a:path w="1171" h="1170">
                  <a:moveTo>
                    <a:pt x="141" y="841"/>
                  </a:moveTo>
                  <a:cubicBezTo>
                    <a:pt x="283" y="1087"/>
                    <a:pt x="596" y="1170"/>
                    <a:pt x="841" y="1029"/>
                  </a:cubicBezTo>
                  <a:cubicBezTo>
                    <a:pt x="1087" y="887"/>
                    <a:pt x="1171" y="574"/>
                    <a:pt x="1029" y="329"/>
                  </a:cubicBezTo>
                  <a:cubicBezTo>
                    <a:pt x="888" y="84"/>
                    <a:pt x="574" y="0"/>
                    <a:pt x="329" y="141"/>
                  </a:cubicBezTo>
                  <a:cubicBezTo>
                    <a:pt x="84" y="283"/>
                    <a:pt x="0" y="596"/>
                    <a:pt x="141" y="84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6" name="Freeform 42"/>
            <p:cNvSpPr>
              <a:spLocks/>
            </p:cNvSpPr>
            <p:nvPr userDrawn="1"/>
          </p:nvSpPr>
          <p:spPr bwMode="auto">
            <a:xfrm flipH="1">
              <a:off x="2100263" y="1784350"/>
              <a:ext cx="1593850" cy="1116013"/>
            </a:xfrm>
            <a:custGeom>
              <a:avLst/>
              <a:gdLst>
                <a:gd name="T0" fmla="*/ 309 w 1005"/>
                <a:gd name="T1" fmla="*/ 187 h 703"/>
                <a:gd name="T2" fmla="*/ 50 w 1005"/>
                <a:gd name="T3" fmla="*/ 703 h 703"/>
                <a:gd name="T4" fmla="*/ 293 w 1005"/>
                <a:gd name="T5" fmla="*/ 141 h 703"/>
                <a:gd name="T6" fmla="*/ 993 w 1005"/>
                <a:gd name="T7" fmla="*/ 329 h 703"/>
                <a:gd name="T8" fmla="*/ 1005 w 1005"/>
                <a:gd name="T9" fmla="*/ 350 h 703"/>
                <a:gd name="T10" fmla="*/ 309 w 1005"/>
                <a:gd name="T11" fmla="*/ 187 h 703"/>
              </a:gdLst>
              <a:ahLst/>
              <a:cxnLst>
                <a:cxn ang="0">
                  <a:pos x="T0" y="T1"/>
                </a:cxn>
                <a:cxn ang="0">
                  <a:pos x="T2" y="T3"/>
                </a:cxn>
                <a:cxn ang="0">
                  <a:pos x="T4" y="T5"/>
                </a:cxn>
                <a:cxn ang="0">
                  <a:pos x="T6" y="T7"/>
                </a:cxn>
                <a:cxn ang="0">
                  <a:pos x="T8" y="T9"/>
                </a:cxn>
                <a:cxn ang="0">
                  <a:pos x="T10" y="T11"/>
                </a:cxn>
              </a:cxnLst>
              <a:rect l="0" t="0" r="r" b="b"/>
              <a:pathLst>
                <a:path w="1005" h="703">
                  <a:moveTo>
                    <a:pt x="309" y="187"/>
                  </a:moveTo>
                  <a:cubicBezTo>
                    <a:pt x="121" y="296"/>
                    <a:pt x="25" y="502"/>
                    <a:pt x="50" y="703"/>
                  </a:cubicBezTo>
                  <a:cubicBezTo>
                    <a:pt x="0" y="488"/>
                    <a:pt x="93" y="257"/>
                    <a:pt x="293" y="141"/>
                  </a:cubicBezTo>
                  <a:cubicBezTo>
                    <a:pt x="538" y="0"/>
                    <a:pt x="852" y="84"/>
                    <a:pt x="993" y="329"/>
                  </a:cubicBezTo>
                  <a:cubicBezTo>
                    <a:pt x="997" y="336"/>
                    <a:pt x="1001" y="343"/>
                    <a:pt x="1005" y="350"/>
                  </a:cubicBezTo>
                  <a:cubicBezTo>
                    <a:pt x="858" y="121"/>
                    <a:pt x="552" y="47"/>
                    <a:pt x="309" y="18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7" name="Freeform 43"/>
            <p:cNvSpPr>
              <a:spLocks/>
            </p:cNvSpPr>
            <p:nvPr userDrawn="1"/>
          </p:nvSpPr>
          <p:spPr bwMode="auto">
            <a:xfrm flipH="1">
              <a:off x="2003426" y="2481263"/>
              <a:ext cx="1660525" cy="1160463"/>
            </a:xfrm>
            <a:custGeom>
              <a:avLst/>
              <a:gdLst>
                <a:gd name="T0" fmla="*/ 39 w 1047"/>
                <a:gd name="T1" fmla="*/ 0 h 731"/>
                <a:gd name="T2" fmla="*/ 108 w 1047"/>
                <a:gd name="T3" fmla="*/ 242 h 731"/>
                <a:gd name="T4" fmla="*/ 808 w 1047"/>
                <a:gd name="T5" fmla="*/ 429 h 731"/>
                <a:gd name="T6" fmla="*/ 1043 w 1047"/>
                <a:gd name="T7" fmla="*/ 132 h 731"/>
                <a:gd name="T8" fmla="*/ 786 w 1047"/>
                <a:gd name="T9" fmla="*/ 590 h 731"/>
                <a:gd name="T10" fmla="*/ 86 w 1047"/>
                <a:gd name="T11" fmla="*/ 402 h 731"/>
                <a:gd name="T12" fmla="*/ 39 w 1047"/>
                <a:gd name="T13" fmla="*/ 0 h 731"/>
              </a:gdLst>
              <a:ahLst/>
              <a:cxnLst>
                <a:cxn ang="0">
                  <a:pos x="T0" y="T1"/>
                </a:cxn>
                <a:cxn ang="0">
                  <a:pos x="T2" y="T3"/>
                </a:cxn>
                <a:cxn ang="0">
                  <a:pos x="T4" y="T5"/>
                </a:cxn>
                <a:cxn ang="0">
                  <a:pos x="T6" y="T7"/>
                </a:cxn>
                <a:cxn ang="0">
                  <a:pos x="T8" y="T9"/>
                </a:cxn>
                <a:cxn ang="0">
                  <a:pos x="T10" y="T11"/>
                </a:cxn>
                <a:cxn ang="0">
                  <a:pos x="T12" y="T13"/>
                </a:cxn>
              </a:cxnLst>
              <a:rect l="0" t="0" r="r" b="b"/>
              <a:pathLst>
                <a:path w="1047" h="731">
                  <a:moveTo>
                    <a:pt x="39" y="0"/>
                  </a:moveTo>
                  <a:cubicBezTo>
                    <a:pt x="41" y="82"/>
                    <a:pt x="64" y="165"/>
                    <a:pt x="108" y="242"/>
                  </a:cubicBezTo>
                  <a:cubicBezTo>
                    <a:pt x="249" y="487"/>
                    <a:pt x="563" y="571"/>
                    <a:pt x="808" y="429"/>
                  </a:cubicBezTo>
                  <a:cubicBezTo>
                    <a:pt x="926" y="361"/>
                    <a:pt x="1007" y="253"/>
                    <a:pt x="1043" y="132"/>
                  </a:cubicBezTo>
                  <a:cubicBezTo>
                    <a:pt x="1047" y="314"/>
                    <a:pt x="955" y="493"/>
                    <a:pt x="786" y="590"/>
                  </a:cubicBezTo>
                  <a:cubicBezTo>
                    <a:pt x="541" y="731"/>
                    <a:pt x="228" y="648"/>
                    <a:pt x="86" y="402"/>
                  </a:cubicBezTo>
                  <a:cubicBezTo>
                    <a:pt x="13" y="275"/>
                    <a:pt x="0" y="130"/>
                    <a:pt x="39" y="0"/>
                  </a:cubicBezTo>
                  <a:close/>
                </a:path>
              </a:pathLst>
            </a:custGeom>
            <a:solidFill>
              <a:srgbClr val="2184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Freeform 44"/>
            <p:cNvSpPr>
              <a:spLocks/>
            </p:cNvSpPr>
            <p:nvPr userDrawn="1"/>
          </p:nvSpPr>
          <p:spPr bwMode="auto">
            <a:xfrm flipH="1">
              <a:off x="2932113" y="2357438"/>
              <a:ext cx="703263" cy="1155700"/>
            </a:xfrm>
            <a:custGeom>
              <a:avLst/>
              <a:gdLst>
                <a:gd name="T0" fmla="*/ 54 w 443"/>
                <a:gd name="T1" fmla="*/ 454 h 728"/>
                <a:gd name="T2" fmla="*/ 47 w 443"/>
                <a:gd name="T3" fmla="*/ 440 h 728"/>
                <a:gd name="T4" fmla="*/ 40 w 443"/>
                <a:gd name="T5" fmla="*/ 422 h 728"/>
                <a:gd name="T6" fmla="*/ 34 w 443"/>
                <a:gd name="T7" fmla="*/ 408 h 728"/>
                <a:gd name="T8" fmla="*/ 29 w 443"/>
                <a:gd name="T9" fmla="*/ 394 h 728"/>
                <a:gd name="T10" fmla="*/ 24 w 443"/>
                <a:gd name="T11" fmla="*/ 380 h 728"/>
                <a:gd name="T12" fmla="*/ 19 w 443"/>
                <a:gd name="T13" fmla="*/ 362 h 728"/>
                <a:gd name="T14" fmla="*/ 15 w 443"/>
                <a:gd name="T15" fmla="*/ 347 h 728"/>
                <a:gd name="T16" fmla="*/ 11 w 443"/>
                <a:gd name="T17" fmla="*/ 333 h 728"/>
                <a:gd name="T18" fmla="*/ 8 w 443"/>
                <a:gd name="T19" fmla="*/ 319 h 728"/>
                <a:gd name="T20" fmla="*/ 5 w 443"/>
                <a:gd name="T21" fmla="*/ 300 h 728"/>
                <a:gd name="T22" fmla="*/ 3 w 443"/>
                <a:gd name="T23" fmla="*/ 286 h 728"/>
                <a:gd name="T24" fmla="*/ 2 w 443"/>
                <a:gd name="T25" fmla="*/ 271 h 728"/>
                <a:gd name="T26" fmla="*/ 1 w 443"/>
                <a:gd name="T27" fmla="*/ 257 h 728"/>
                <a:gd name="T28" fmla="*/ 0 w 443"/>
                <a:gd name="T29" fmla="*/ 238 h 728"/>
                <a:gd name="T30" fmla="*/ 0 w 443"/>
                <a:gd name="T31" fmla="*/ 224 h 728"/>
                <a:gd name="T32" fmla="*/ 0 w 443"/>
                <a:gd name="T33" fmla="*/ 210 h 728"/>
                <a:gd name="T34" fmla="*/ 1 w 443"/>
                <a:gd name="T35" fmla="*/ 195 h 728"/>
                <a:gd name="T36" fmla="*/ 4 w 443"/>
                <a:gd name="T37" fmla="*/ 162 h 728"/>
                <a:gd name="T38" fmla="*/ 6 w 443"/>
                <a:gd name="T39" fmla="*/ 148 h 728"/>
                <a:gd name="T40" fmla="*/ 8 w 443"/>
                <a:gd name="T41" fmla="*/ 133 h 728"/>
                <a:gd name="T42" fmla="*/ 15 w 443"/>
                <a:gd name="T43" fmla="*/ 102 h 728"/>
                <a:gd name="T44" fmla="*/ 18 w 443"/>
                <a:gd name="T45" fmla="*/ 88 h 728"/>
                <a:gd name="T46" fmla="*/ 22 w 443"/>
                <a:gd name="T47" fmla="*/ 74 h 728"/>
                <a:gd name="T48" fmla="*/ 33 w 443"/>
                <a:gd name="T49" fmla="*/ 43 h 728"/>
                <a:gd name="T50" fmla="*/ 38 w 443"/>
                <a:gd name="T51" fmla="*/ 30 h 728"/>
                <a:gd name="T52" fmla="*/ 44 w 443"/>
                <a:gd name="T53" fmla="*/ 16 h 728"/>
                <a:gd name="T54" fmla="*/ 51 w 443"/>
                <a:gd name="T55" fmla="*/ 0 h 728"/>
                <a:gd name="T56" fmla="*/ 125 w 443"/>
                <a:gd name="T57" fmla="*/ 84 h 728"/>
                <a:gd name="T58" fmla="*/ 339 w 443"/>
                <a:gd name="T59" fmla="*/ 99 h 728"/>
                <a:gd name="T60" fmla="*/ 336 w 443"/>
                <a:gd name="T61" fmla="*/ 310 h 728"/>
                <a:gd name="T62" fmla="*/ 314 w 443"/>
                <a:gd name="T63" fmla="*/ 556 h 728"/>
                <a:gd name="T64" fmla="*/ 418 w 443"/>
                <a:gd name="T65" fmla="*/ 728 h 728"/>
                <a:gd name="T66" fmla="*/ 365 w 443"/>
                <a:gd name="T67" fmla="*/ 715 h 728"/>
                <a:gd name="T68" fmla="*/ 352 w 443"/>
                <a:gd name="T69" fmla="*/ 711 h 728"/>
                <a:gd name="T70" fmla="*/ 338 w 443"/>
                <a:gd name="T71" fmla="*/ 706 h 728"/>
                <a:gd name="T72" fmla="*/ 326 w 443"/>
                <a:gd name="T73" fmla="*/ 702 h 728"/>
                <a:gd name="T74" fmla="*/ 314 w 443"/>
                <a:gd name="T75" fmla="*/ 697 h 728"/>
                <a:gd name="T76" fmla="*/ 301 w 443"/>
                <a:gd name="T77" fmla="*/ 691 h 728"/>
                <a:gd name="T78" fmla="*/ 289 w 443"/>
                <a:gd name="T79" fmla="*/ 686 h 728"/>
                <a:gd name="T80" fmla="*/ 240 w 443"/>
                <a:gd name="T81" fmla="*/ 659 h 728"/>
                <a:gd name="T82" fmla="*/ 229 w 443"/>
                <a:gd name="T83" fmla="*/ 651 h 728"/>
                <a:gd name="T84" fmla="*/ 217 w 443"/>
                <a:gd name="T85" fmla="*/ 643 h 728"/>
                <a:gd name="T86" fmla="*/ 206 w 443"/>
                <a:gd name="T87" fmla="*/ 635 h 728"/>
                <a:gd name="T88" fmla="*/ 196 w 443"/>
                <a:gd name="T89" fmla="*/ 627 h 728"/>
                <a:gd name="T90" fmla="*/ 185 w 443"/>
                <a:gd name="T91" fmla="*/ 619 h 728"/>
                <a:gd name="T92" fmla="*/ 175 w 443"/>
                <a:gd name="T93" fmla="*/ 610 h 728"/>
                <a:gd name="T94" fmla="*/ 165 w 443"/>
                <a:gd name="T95" fmla="*/ 601 h 728"/>
                <a:gd name="T96" fmla="*/ 144 w 443"/>
                <a:gd name="T97" fmla="*/ 580 h 728"/>
                <a:gd name="T98" fmla="*/ 134 w 443"/>
                <a:gd name="T99" fmla="*/ 570 h 728"/>
                <a:gd name="T100" fmla="*/ 124 w 443"/>
                <a:gd name="T101" fmla="*/ 559 h 728"/>
                <a:gd name="T102" fmla="*/ 115 w 443"/>
                <a:gd name="T103" fmla="*/ 548 h 728"/>
                <a:gd name="T104" fmla="*/ 107 w 443"/>
                <a:gd name="T105" fmla="*/ 538 h 728"/>
                <a:gd name="T106" fmla="*/ 99 w 443"/>
                <a:gd name="T107" fmla="*/ 527 h 728"/>
                <a:gd name="T108" fmla="*/ 91 w 443"/>
                <a:gd name="T109" fmla="*/ 516 h 728"/>
                <a:gd name="T110" fmla="*/ 83 w 443"/>
                <a:gd name="T111" fmla="*/ 504 h 728"/>
                <a:gd name="T112" fmla="*/ 76 w 443"/>
                <a:gd name="T113" fmla="*/ 492 h 728"/>
                <a:gd name="T114" fmla="*/ 61 w 443"/>
                <a:gd name="T115" fmla="*/ 46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3" h="728">
                  <a:moveTo>
                    <a:pt x="59" y="463"/>
                  </a:moveTo>
                  <a:cubicBezTo>
                    <a:pt x="57" y="460"/>
                    <a:pt x="56" y="457"/>
                    <a:pt x="54" y="454"/>
                  </a:cubicBezTo>
                  <a:cubicBezTo>
                    <a:pt x="53" y="452"/>
                    <a:pt x="53" y="451"/>
                    <a:pt x="52" y="449"/>
                  </a:cubicBezTo>
                  <a:cubicBezTo>
                    <a:pt x="50" y="446"/>
                    <a:pt x="49" y="443"/>
                    <a:pt x="47" y="440"/>
                  </a:cubicBezTo>
                  <a:cubicBezTo>
                    <a:pt x="47" y="438"/>
                    <a:pt x="46" y="437"/>
                    <a:pt x="45" y="435"/>
                  </a:cubicBezTo>
                  <a:cubicBezTo>
                    <a:pt x="43" y="431"/>
                    <a:pt x="41" y="427"/>
                    <a:pt x="40" y="422"/>
                  </a:cubicBezTo>
                  <a:cubicBezTo>
                    <a:pt x="39" y="422"/>
                    <a:pt x="39" y="422"/>
                    <a:pt x="39" y="422"/>
                  </a:cubicBezTo>
                  <a:cubicBezTo>
                    <a:pt x="38" y="417"/>
                    <a:pt x="36" y="413"/>
                    <a:pt x="34" y="408"/>
                  </a:cubicBezTo>
                  <a:cubicBezTo>
                    <a:pt x="33" y="407"/>
                    <a:pt x="33" y="405"/>
                    <a:pt x="32" y="404"/>
                  </a:cubicBezTo>
                  <a:cubicBezTo>
                    <a:pt x="31" y="401"/>
                    <a:pt x="30" y="398"/>
                    <a:pt x="29" y="394"/>
                  </a:cubicBezTo>
                  <a:cubicBezTo>
                    <a:pt x="28" y="393"/>
                    <a:pt x="28" y="391"/>
                    <a:pt x="27" y="390"/>
                  </a:cubicBezTo>
                  <a:cubicBezTo>
                    <a:pt x="26" y="386"/>
                    <a:pt x="25" y="383"/>
                    <a:pt x="24" y="380"/>
                  </a:cubicBezTo>
                  <a:cubicBezTo>
                    <a:pt x="23" y="378"/>
                    <a:pt x="23" y="377"/>
                    <a:pt x="23" y="375"/>
                  </a:cubicBezTo>
                  <a:cubicBezTo>
                    <a:pt x="21" y="371"/>
                    <a:pt x="20" y="366"/>
                    <a:pt x="19" y="362"/>
                  </a:cubicBezTo>
                  <a:cubicBezTo>
                    <a:pt x="18" y="362"/>
                    <a:pt x="18" y="362"/>
                    <a:pt x="18" y="362"/>
                  </a:cubicBezTo>
                  <a:cubicBezTo>
                    <a:pt x="17" y="357"/>
                    <a:pt x="16" y="352"/>
                    <a:pt x="15" y="347"/>
                  </a:cubicBezTo>
                  <a:cubicBezTo>
                    <a:pt x="14" y="346"/>
                    <a:pt x="14" y="345"/>
                    <a:pt x="14" y="343"/>
                  </a:cubicBezTo>
                  <a:cubicBezTo>
                    <a:pt x="13" y="340"/>
                    <a:pt x="12" y="337"/>
                    <a:pt x="11" y="333"/>
                  </a:cubicBezTo>
                  <a:cubicBezTo>
                    <a:pt x="11" y="332"/>
                    <a:pt x="11" y="330"/>
                    <a:pt x="10" y="329"/>
                  </a:cubicBezTo>
                  <a:cubicBezTo>
                    <a:pt x="10" y="325"/>
                    <a:pt x="9" y="322"/>
                    <a:pt x="8" y="319"/>
                  </a:cubicBezTo>
                  <a:cubicBezTo>
                    <a:pt x="8" y="317"/>
                    <a:pt x="8" y="316"/>
                    <a:pt x="8" y="314"/>
                  </a:cubicBezTo>
                  <a:cubicBezTo>
                    <a:pt x="7" y="310"/>
                    <a:pt x="6" y="305"/>
                    <a:pt x="5" y="300"/>
                  </a:cubicBezTo>
                  <a:cubicBezTo>
                    <a:pt x="5" y="300"/>
                    <a:pt x="5" y="300"/>
                    <a:pt x="5" y="300"/>
                  </a:cubicBezTo>
                  <a:cubicBezTo>
                    <a:pt x="5" y="295"/>
                    <a:pt x="4" y="291"/>
                    <a:pt x="3" y="286"/>
                  </a:cubicBezTo>
                  <a:cubicBezTo>
                    <a:pt x="3" y="285"/>
                    <a:pt x="3" y="283"/>
                    <a:pt x="3" y="282"/>
                  </a:cubicBezTo>
                  <a:cubicBezTo>
                    <a:pt x="3" y="278"/>
                    <a:pt x="2" y="275"/>
                    <a:pt x="2" y="271"/>
                  </a:cubicBezTo>
                  <a:cubicBezTo>
                    <a:pt x="2" y="270"/>
                    <a:pt x="2" y="268"/>
                    <a:pt x="2" y="267"/>
                  </a:cubicBezTo>
                  <a:cubicBezTo>
                    <a:pt x="1" y="263"/>
                    <a:pt x="1" y="260"/>
                    <a:pt x="1" y="257"/>
                  </a:cubicBezTo>
                  <a:cubicBezTo>
                    <a:pt x="1" y="255"/>
                    <a:pt x="1" y="254"/>
                    <a:pt x="1" y="252"/>
                  </a:cubicBezTo>
                  <a:cubicBezTo>
                    <a:pt x="0" y="248"/>
                    <a:pt x="0" y="243"/>
                    <a:pt x="0" y="238"/>
                  </a:cubicBezTo>
                  <a:cubicBezTo>
                    <a:pt x="0" y="238"/>
                    <a:pt x="0" y="238"/>
                    <a:pt x="0" y="238"/>
                  </a:cubicBezTo>
                  <a:cubicBezTo>
                    <a:pt x="0" y="233"/>
                    <a:pt x="0" y="229"/>
                    <a:pt x="0" y="224"/>
                  </a:cubicBezTo>
                  <a:cubicBezTo>
                    <a:pt x="0" y="223"/>
                    <a:pt x="0" y="221"/>
                    <a:pt x="0" y="220"/>
                  </a:cubicBezTo>
                  <a:cubicBezTo>
                    <a:pt x="0" y="217"/>
                    <a:pt x="0" y="213"/>
                    <a:pt x="0" y="210"/>
                  </a:cubicBezTo>
                  <a:cubicBezTo>
                    <a:pt x="0" y="208"/>
                    <a:pt x="0" y="207"/>
                    <a:pt x="0" y="205"/>
                  </a:cubicBezTo>
                  <a:cubicBezTo>
                    <a:pt x="0" y="202"/>
                    <a:pt x="0" y="198"/>
                    <a:pt x="1" y="195"/>
                  </a:cubicBezTo>
                  <a:cubicBezTo>
                    <a:pt x="1" y="193"/>
                    <a:pt x="1" y="192"/>
                    <a:pt x="1" y="191"/>
                  </a:cubicBezTo>
                  <a:cubicBezTo>
                    <a:pt x="2" y="181"/>
                    <a:pt x="2" y="172"/>
                    <a:pt x="4" y="162"/>
                  </a:cubicBezTo>
                  <a:cubicBezTo>
                    <a:pt x="4" y="161"/>
                    <a:pt x="4" y="160"/>
                    <a:pt x="4" y="159"/>
                  </a:cubicBezTo>
                  <a:cubicBezTo>
                    <a:pt x="4" y="155"/>
                    <a:pt x="5" y="152"/>
                    <a:pt x="6" y="148"/>
                  </a:cubicBezTo>
                  <a:cubicBezTo>
                    <a:pt x="6" y="147"/>
                    <a:pt x="6" y="145"/>
                    <a:pt x="6" y="144"/>
                  </a:cubicBezTo>
                  <a:cubicBezTo>
                    <a:pt x="7" y="140"/>
                    <a:pt x="7" y="137"/>
                    <a:pt x="8" y="133"/>
                  </a:cubicBezTo>
                  <a:cubicBezTo>
                    <a:pt x="8" y="132"/>
                    <a:pt x="8" y="131"/>
                    <a:pt x="9" y="130"/>
                  </a:cubicBezTo>
                  <a:cubicBezTo>
                    <a:pt x="10" y="120"/>
                    <a:pt x="12" y="111"/>
                    <a:pt x="15" y="102"/>
                  </a:cubicBezTo>
                  <a:cubicBezTo>
                    <a:pt x="15" y="101"/>
                    <a:pt x="15" y="100"/>
                    <a:pt x="15" y="99"/>
                  </a:cubicBezTo>
                  <a:cubicBezTo>
                    <a:pt x="16" y="95"/>
                    <a:pt x="17" y="92"/>
                    <a:pt x="18" y="88"/>
                  </a:cubicBezTo>
                  <a:cubicBezTo>
                    <a:pt x="19" y="87"/>
                    <a:pt x="19" y="85"/>
                    <a:pt x="19" y="84"/>
                  </a:cubicBezTo>
                  <a:cubicBezTo>
                    <a:pt x="20" y="81"/>
                    <a:pt x="21" y="77"/>
                    <a:pt x="22" y="74"/>
                  </a:cubicBezTo>
                  <a:cubicBezTo>
                    <a:pt x="23" y="73"/>
                    <a:pt x="23" y="71"/>
                    <a:pt x="24" y="70"/>
                  </a:cubicBezTo>
                  <a:cubicBezTo>
                    <a:pt x="26" y="61"/>
                    <a:pt x="30" y="52"/>
                    <a:pt x="33" y="43"/>
                  </a:cubicBezTo>
                  <a:cubicBezTo>
                    <a:pt x="33" y="42"/>
                    <a:pt x="34" y="41"/>
                    <a:pt x="34" y="41"/>
                  </a:cubicBezTo>
                  <a:cubicBezTo>
                    <a:pt x="35" y="37"/>
                    <a:pt x="37" y="33"/>
                    <a:pt x="38" y="30"/>
                  </a:cubicBezTo>
                  <a:cubicBezTo>
                    <a:pt x="39" y="29"/>
                    <a:pt x="39" y="27"/>
                    <a:pt x="40" y="26"/>
                  </a:cubicBezTo>
                  <a:cubicBezTo>
                    <a:pt x="41" y="23"/>
                    <a:pt x="43" y="20"/>
                    <a:pt x="44" y="16"/>
                  </a:cubicBezTo>
                  <a:cubicBezTo>
                    <a:pt x="44" y="15"/>
                    <a:pt x="45" y="14"/>
                    <a:pt x="45" y="13"/>
                  </a:cubicBezTo>
                  <a:cubicBezTo>
                    <a:pt x="47" y="9"/>
                    <a:pt x="49" y="4"/>
                    <a:pt x="51" y="0"/>
                  </a:cubicBezTo>
                  <a:cubicBezTo>
                    <a:pt x="51" y="0"/>
                    <a:pt x="51" y="0"/>
                    <a:pt x="51" y="0"/>
                  </a:cubicBezTo>
                  <a:cubicBezTo>
                    <a:pt x="51" y="0"/>
                    <a:pt x="99" y="93"/>
                    <a:pt x="125" y="84"/>
                  </a:cubicBezTo>
                  <a:cubicBezTo>
                    <a:pt x="151" y="75"/>
                    <a:pt x="195" y="36"/>
                    <a:pt x="239" y="79"/>
                  </a:cubicBezTo>
                  <a:cubicBezTo>
                    <a:pt x="284" y="121"/>
                    <a:pt x="295" y="83"/>
                    <a:pt x="339" y="99"/>
                  </a:cubicBezTo>
                  <a:cubicBezTo>
                    <a:pt x="382" y="114"/>
                    <a:pt x="443" y="123"/>
                    <a:pt x="426" y="217"/>
                  </a:cubicBezTo>
                  <a:cubicBezTo>
                    <a:pt x="409" y="312"/>
                    <a:pt x="340" y="280"/>
                    <a:pt x="336" y="310"/>
                  </a:cubicBezTo>
                  <a:cubicBezTo>
                    <a:pt x="331" y="341"/>
                    <a:pt x="389" y="366"/>
                    <a:pt x="377" y="436"/>
                  </a:cubicBezTo>
                  <a:cubicBezTo>
                    <a:pt x="364" y="507"/>
                    <a:pt x="313" y="504"/>
                    <a:pt x="314" y="556"/>
                  </a:cubicBezTo>
                  <a:cubicBezTo>
                    <a:pt x="316" y="607"/>
                    <a:pt x="296" y="622"/>
                    <a:pt x="343" y="660"/>
                  </a:cubicBezTo>
                  <a:cubicBezTo>
                    <a:pt x="374" y="685"/>
                    <a:pt x="401" y="706"/>
                    <a:pt x="418" y="728"/>
                  </a:cubicBezTo>
                  <a:cubicBezTo>
                    <a:pt x="400" y="725"/>
                    <a:pt x="383" y="720"/>
                    <a:pt x="365" y="715"/>
                  </a:cubicBezTo>
                  <a:cubicBezTo>
                    <a:pt x="365" y="715"/>
                    <a:pt x="365" y="715"/>
                    <a:pt x="365" y="715"/>
                  </a:cubicBezTo>
                  <a:cubicBezTo>
                    <a:pt x="361" y="714"/>
                    <a:pt x="357" y="713"/>
                    <a:pt x="353" y="711"/>
                  </a:cubicBezTo>
                  <a:cubicBezTo>
                    <a:pt x="352" y="711"/>
                    <a:pt x="352" y="711"/>
                    <a:pt x="352" y="711"/>
                  </a:cubicBezTo>
                  <a:cubicBezTo>
                    <a:pt x="348" y="710"/>
                    <a:pt x="344" y="708"/>
                    <a:pt x="341" y="707"/>
                  </a:cubicBezTo>
                  <a:cubicBezTo>
                    <a:pt x="340" y="707"/>
                    <a:pt x="339" y="706"/>
                    <a:pt x="338" y="706"/>
                  </a:cubicBezTo>
                  <a:cubicBezTo>
                    <a:pt x="335" y="705"/>
                    <a:pt x="332" y="704"/>
                    <a:pt x="328" y="702"/>
                  </a:cubicBezTo>
                  <a:cubicBezTo>
                    <a:pt x="327" y="702"/>
                    <a:pt x="327" y="702"/>
                    <a:pt x="326" y="702"/>
                  </a:cubicBezTo>
                  <a:cubicBezTo>
                    <a:pt x="323" y="700"/>
                    <a:pt x="319" y="699"/>
                    <a:pt x="316" y="697"/>
                  </a:cubicBezTo>
                  <a:cubicBezTo>
                    <a:pt x="315" y="697"/>
                    <a:pt x="314" y="697"/>
                    <a:pt x="314" y="697"/>
                  </a:cubicBezTo>
                  <a:cubicBezTo>
                    <a:pt x="310" y="695"/>
                    <a:pt x="307" y="694"/>
                    <a:pt x="303" y="692"/>
                  </a:cubicBezTo>
                  <a:cubicBezTo>
                    <a:pt x="303" y="692"/>
                    <a:pt x="302" y="692"/>
                    <a:pt x="301" y="691"/>
                  </a:cubicBezTo>
                  <a:cubicBezTo>
                    <a:pt x="298" y="690"/>
                    <a:pt x="294" y="688"/>
                    <a:pt x="291" y="686"/>
                  </a:cubicBezTo>
                  <a:cubicBezTo>
                    <a:pt x="290" y="686"/>
                    <a:pt x="290" y="686"/>
                    <a:pt x="289" y="686"/>
                  </a:cubicBezTo>
                  <a:cubicBezTo>
                    <a:pt x="273" y="678"/>
                    <a:pt x="258" y="669"/>
                    <a:pt x="243" y="660"/>
                  </a:cubicBezTo>
                  <a:cubicBezTo>
                    <a:pt x="242" y="660"/>
                    <a:pt x="241" y="659"/>
                    <a:pt x="240" y="659"/>
                  </a:cubicBezTo>
                  <a:cubicBezTo>
                    <a:pt x="237" y="657"/>
                    <a:pt x="234" y="655"/>
                    <a:pt x="231" y="653"/>
                  </a:cubicBezTo>
                  <a:cubicBezTo>
                    <a:pt x="231" y="652"/>
                    <a:pt x="230" y="652"/>
                    <a:pt x="229" y="651"/>
                  </a:cubicBezTo>
                  <a:cubicBezTo>
                    <a:pt x="226" y="649"/>
                    <a:pt x="223" y="647"/>
                    <a:pt x="221" y="646"/>
                  </a:cubicBezTo>
                  <a:cubicBezTo>
                    <a:pt x="219" y="645"/>
                    <a:pt x="218" y="644"/>
                    <a:pt x="217" y="643"/>
                  </a:cubicBezTo>
                  <a:cubicBezTo>
                    <a:pt x="215" y="642"/>
                    <a:pt x="212" y="640"/>
                    <a:pt x="210" y="638"/>
                  </a:cubicBezTo>
                  <a:cubicBezTo>
                    <a:pt x="209" y="637"/>
                    <a:pt x="208" y="636"/>
                    <a:pt x="206" y="635"/>
                  </a:cubicBezTo>
                  <a:cubicBezTo>
                    <a:pt x="204" y="634"/>
                    <a:pt x="202" y="632"/>
                    <a:pt x="199" y="630"/>
                  </a:cubicBezTo>
                  <a:cubicBezTo>
                    <a:pt x="198" y="629"/>
                    <a:pt x="197" y="628"/>
                    <a:pt x="196" y="627"/>
                  </a:cubicBezTo>
                  <a:cubicBezTo>
                    <a:pt x="193" y="625"/>
                    <a:pt x="191" y="624"/>
                    <a:pt x="189" y="622"/>
                  </a:cubicBezTo>
                  <a:cubicBezTo>
                    <a:pt x="188" y="621"/>
                    <a:pt x="186" y="620"/>
                    <a:pt x="185" y="619"/>
                  </a:cubicBezTo>
                  <a:cubicBezTo>
                    <a:pt x="183" y="617"/>
                    <a:pt x="181" y="615"/>
                    <a:pt x="178" y="613"/>
                  </a:cubicBezTo>
                  <a:cubicBezTo>
                    <a:pt x="177" y="612"/>
                    <a:pt x="176" y="611"/>
                    <a:pt x="175" y="610"/>
                  </a:cubicBezTo>
                  <a:cubicBezTo>
                    <a:pt x="173" y="608"/>
                    <a:pt x="170" y="606"/>
                    <a:pt x="167" y="603"/>
                  </a:cubicBezTo>
                  <a:cubicBezTo>
                    <a:pt x="167" y="603"/>
                    <a:pt x="166" y="602"/>
                    <a:pt x="165" y="601"/>
                  </a:cubicBezTo>
                  <a:cubicBezTo>
                    <a:pt x="159" y="595"/>
                    <a:pt x="152" y="589"/>
                    <a:pt x="146" y="583"/>
                  </a:cubicBezTo>
                  <a:cubicBezTo>
                    <a:pt x="145" y="582"/>
                    <a:pt x="144" y="581"/>
                    <a:pt x="144" y="580"/>
                  </a:cubicBezTo>
                  <a:cubicBezTo>
                    <a:pt x="141" y="578"/>
                    <a:pt x="139" y="575"/>
                    <a:pt x="137" y="573"/>
                  </a:cubicBezTo>
                  <a:cubicBezTo>
                    <a:pt x="136" y="572"/>
                    <a:pt x="135" y="571"/>
                    <a:pt x="134" y="570"/>
                  </a:cubicBezTo>
                  <a:cubicBezTo>
                    <a:pt x="132" y="567"/>
                    <a:pt x="130" y="565"/>
                    <a:pt x="128" y="563"/>
                  </a:cubicBezTo>
                  <a:cubicBezTo>
                    <a:pt x="127" y="562"/>
                    <a:pt x="125" y="560"/>
                    <a:pt x="124" y="559"/>
                  </a:cubicBezTo>
                  <a:cubicBezTo>
                    <a:pt x="123" y="557"/>
                    <a:pt x="121" y="555"/>
                    <a:pt x="119" y="553"/>
                  </a:cubicBezTo>
                  <a:cubicBezTo>
                    <a:pt x="118" y="551"/>
                    <a:pt x="117" y="550"/>
                    <a:pt x="115" y="548"/>
                  </a:cubicBezTo>
                  <a:cubicBezTo>
                    <a:pt x="114" y="546"/>
                    <a:pt x="112" y="544"/>
                    <a:pt x="110" y="542"/>
                  </a:cubicBezTo>
                  <a:cubicBezTo>
                    <a:pt x="109" y="541"/>
                    <a:pt x="108" y="539"/>
                    <a:pt x="107" y="538"/>
                  </a:cubicBezTo>
                  <a:cubicBezTo>
                    <a:pt x="105" y="536"/>
                    <a:pt x="104" y="533"/>
                    <a:pt x="102" y="531"/>
                  </a:cubicBezTo>
                  <a:cubicBezTo>
                    <a:pt x="101" y="530"/>
                    <a:pt x="100" y="528"/>
                    <a:pt x="99" y="527"/>
                  </a:cubicBezTo>
                  <a:cubicBezTo>
                    <a:pt x="97" y="525"/>
                    <a:pt x="96" y="522"/>
                    <a:pt x="94" y="520"/>
                  </a:cubicBezTo>
                  <a:cubicBezTo>
                    <a:pt x="93" y="519"/>
                    <a:pt x="92" y="517"/>
                    <a:pt x="91" y="516"/>
                  </a:cubicBezTo>
                  <a:cubicBezTo>
                    <a:pt x="89" y="513"/>
                    <a:pt x="88" y="511"/>
                    <a:pt x="86" y="509"/>
                  </a:cubicBezTo>
                  <a:cubicBezTo>
                    <a:pt x="85" y="507"/>
                    <a:pt x="84" y="506"/>
                    <a:pt x="83" y="504"/>
                  </a:cubicBezTo>
                  <a:cubicBezTo>
                    <a:pt x="81" y="502"/>
                    <a:pt x="80" y="499"/>
                    <a:pt x="78" y="496"/>
                  </a:cubicBezTo>
                  <a:cubicBezTo>
                    <a:pt x="77" y="495"/>
                    <a:pt x="76" y="494"/>
                    <a:pt x="76" y="492"/>
                  </a:cubicBezTo>
                  <a:cubicBezTo>
                    <a:pt x="73" y="488"/>
                    <a:pt x="71" y="484"/>
                    <a:pt x="68" y="480"/>
                  </a:cubicBezTo>
                  <a:cubicBezTo>
                    <a:pt x="66" y="476"/>
                    <a:pt x="64" y="472"/>
                    <a:pt x="61" y="467"/>
                  </a:cubicBezTo>
                  <a:cubicBezTo>
                    <a:pt x="60" y="466"/>
                    <a:pt x="60" y="464"/>
                    <a:pt x="59" y="46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9" name="Freeform 45"/>
            <p:cNvSpPr>
              <a:spLocks/>
            </p:cNvSpPr>
            <p:nvPr userDrawn="1"/>
          </p:nvSpPr>
          <p:spPr bwMode="auto">
            <a:xfrm flipH="1">
              <a:off x="2971801" y="2481263"/>
              <a:ext cx="663575" cy="1031875"/>
            </a:xfrm>
            <a:custGeom>
              <a:avLst/>
              <a:gdLst>
                <a:gd name="T0" fmla="*/ 54 w 418"/>
                <a:gd name="T1" fmla="*/ 376 h 650"/>
                <a:gd name="T2" fmla="*/ 47 w 418"/>
                <a:gd name="T3" fmla="*/ 362 h 650"/>
                <a:gd name="T4" fmla="*/ 39 w 418"/>
                <a:gd name="T5" fmla="*/ 343 h 650"/>
                <a:gd name="T6" fmla="*/ 29 w 418"/>
                <a:gd name="T7" fmla="*/ 316 h 650"/>
                <a:gd name="T8" fmla="*/ 24 w 418"/>
                <a:gd name="T9" fmla="*/ 302 h 650"/>
                <a:gd name="T10" fmla="*/ 19 w 418"/>
                <a:gd name="T11" fmla="*/ 287 h 650"/>
                <a:gd name="T12" fmla="*/ 15 w 418"/>
                <a:gd name="T13" fmla="*/ 268 h 650"/>
                <a:gd name="T14" fmla="*/ 11 w 418"/>
                <a:gd name="T15" fmla="*/ 251 h 650"/>
                <a:gd name="T16" fmla="*/ 8 w 418"/>
                <a:gd name="T17" fmla="*/ 238 h 650"/>
                <a:gd name="T18" fmla="*/ 5 w 418"/>
                <a:gd name="T19" fmla="*/ 219 h 650"/>
                <a:gd name="T20" fmla="*/ 3 w 418"/>
                <a:gd name="T21" fmla="*/ 204 h 650"/>
                <a:gd name="T22" fmla="*/ 2 w 418"/>
                <a:gd name="T23" fmla="*/ 189 h 650"/>
                <a:gd name="T24" fmla="*/ 0 w 418"/>
                <a:gd name="T25" fmla="*/ 171 h 650"/>
                <a:gd name="T26" fmla="*/ 0 w 418"/>
                <a:gd name="T27" fmla="*/ 148 h 650"/>
                <a:gd name="T28" fmla="*/ 0 w 418"/>
                <a:gd name="T29" fmla="*/ 127 h 650"/>
                <a:gd name="T30" fmla="*/ 1 w 418"/>
                <a:gd name="T31" fmla="*/ 113 h 650"/>
                <a:gd name="T32" fmla="*/ 3 w 418"/>
                <a:gd name="T33" fmla="*/ 86 h 650"/>
                <a:gd name="T34" fmla="*/ 6 w 418"/>
                <a:gd name="T35" fmla="*/ 65 h 650"/>
                <a:gd name="T36" fmla="*/ 11 w 418"/>
                <a:gd name="T37" fmla="*/ 40 h 650"/>
                <a:gd name="T38" fmla="*/ 16 w 418"/>
                <a:gd name="T39" fmla="*/ 18 h 650"/>
                <a:gd name="T40" fmla="*/ 21 w 418"/>
                <a:gd name="T41" fmla="*/ 0 h 650"/>
                <a:gd name="T42" fmla="*/ 314 w 418"/>
                <a:gd name="T43" fmla="*/ 478 h 650"/>
                <a:gd name="T44" fmla="*/ 366 w 418"/>
                <a:gd name="T45" fmla="*/ 637 h 650"/>
                <a:gd name="T46" fmla="*/ 353 w 418"/>
                <a:gd name="T47" fmla="*/ 633 h 650"/>
                <a:gd name="T48" fmla="*/ 338 w 418"/>
                <a:gd name="T49" fmla="*/ 628 h 650"/>
                <a:gd name="T50" fmla="*/ 316 w 418"/>
                <a:gd name="T51" fmla="*/ 619 h 650"/>
                <a:gd name="T52" fmla="*/ 303 w 418"/>
                <a:gd name="T53" fmla="*/ 614 h 650"/>
                <a:gd name="T54" fmla="*/ 291 w 418"/>
                <a:gd name="T55" fmla="*/ 608 h 650"/>
                <a:gd name="T56" fmla="*/ 242 w 418"/>
                <a:gd name="T57" fmla="*/ 581 h 650"/>
                <a:gd name="T58" fmla="*/ 229 w 418"/>
                <a:gd name="T59" fmla="*/ 573 h 650"/>
                <a:gd name="T60" fmla="*/ 217 w 418"/>
                <a:gd name="T61" fmla="*/ 565 h 650"/>
                <a:gd name="T62" fmla="*/ 199 w 418"/>
                <a:gd name="T63" fmla="*/ 552 h 650"/>
                <a:gd name="T64" fmla="*/ 186 w 418"/>
                <a:gd name="T65" fmla="*/ 542 h 650"/>
                <a:gd name="T66" fmla="*/ 175 w 418"/>
                <a:gd name="T67" fmla="*/ 532 h 650"/>
                <a:gd name="T68" fmla="*/ 146 w 418"/>
                <a:gd name="T69" fmla="*/ 505 h 650"/>
                <a:gd name="T70" fmla="*/ 135 w 418"/>
                <a:gd name="T71" fmla="*/ 493 h 650"/>
                <a:gd name="T72" fmla="*/ 124 w 418"/>
                <a:gd name="T73" fmla="*/ 481 h 650"/>
                <a:gd name="T74" fmla="*/ 110 w 418"/>
                <a:gd name="T75" fmla="*/ 464 h 650"/>
                <a:gd name="T76" fmla="*/ 99 w 418"/>
                <a:gd name="T77" fmla="*/ 449 h 650"/>
                <a:gd name="T78" fmla="*/ 91 w 418"/>
                <a:gd name="T79" fmla="*/ 438 h 650"/>
                <a:gd name="T80" fmla="*/ 83 w 418"/>
                <a:gd name="T81" fmla="*/ 426 h 650"/>
                <a:gd name="T82" fmla="*/ 68 w 418"/>
                <a:gd name="T83" fmla="*/ 402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650">
                  <a:moveTo>
                    <a:pt x="60" y="387"/>
                  </a:moveTo>
                  <a:cubicBezTo>
                    <a:pt x="60" y="386"/>
                    <a:pt x="59" y="385"/>
                    <a:pt x="59" y="385"/>
                  </a:cubicBezTo>
                  <a:cubicBezTo>
                    <a:pt x="57" y="382"/>
                    <a:pt x="56" y="379"/>
                    <a:pt x="54" y="376"/>
                  </a:cubicBezTo>
                  <a:cubicBezTo>
                    <a:pt x="54" y="375"/>
                    <a:pt x="54" y="375"/>
                    <a:pt x="53" y="374"/>
                  </a:cubicBezTo>
                  <a:cubicBezTo>
                    <a:pt x="53" y="373"/>
                    <a:pt x="52" y="372"/>
                    <a:pt x="52" y="371"/>
                  </a:cubicBezTo>
                  <a:cubicBezTo>
                    <a:pt x="50" y="368"/>
                    <a:pt x="49" y="365"/>
                    <a:pt x="47" y="362"/>
                  </a:cubicBezTo>
                  <a:cubicBezTo>
                    <a:pt x="47" y="360"/>
                    <a:pt x="46" y="358"/>
                    <a:pt x="45" y="357"/>
                  </a:cubicBezTo>
                  <a:cubicBezTo>
                    <a:pt x="44" y="354"/>
                    <a:pt x="42" y="350"/>
                    <a:pt x="41" y="347"/>
                  </a:cubicBezTo>
                  <a:cubicBezTo>
                    <a:pt x="40" y="346"/>
                    <a:pt x="40" y="344"/>
                    <a:pt x="39" y="343"/>
                  </a:cubicBezTo>
                  <a:cubicBezTo>
                    <a:pt x="37" y="339"/>
                    <a:pt x="36" y="334"/>
                    <a:pt x="34" y="330"/>
                  </a:cubicBezTo>
                  <a:cubicBezTo>
                    <a:pt x="33" y="329"/>
                    <a:pt x="33" y="327"/>
                    <a:pt x="32" y="326"/>
                  </a:cubicBezTo>
                  <a:cubicBezTo>
                    <a:pt x="31" y="323"/>
                    <a:pt x="30" y="320"/>
                    <a:pt x="29" y="316"/>
                  </a:cubicBezTo>
                  <a:cubicBezTo>
                    <a:pt x="28" y="315"/>
                    <a:pt x="28" y="314"/>
                    <a:pt x="28" y="313"/>
                  </a:cubicBezTo>
                  <a:cubicBezTo>
                    <a:pt x="27" y="312"/>
                    <a:pt x="27" y="311"/>
                    <a:pt x="27" y="310"/>
                  </a:cubicBezTo>
                  <a:cubicBezTo>
                    <a:pt x="26" y="308"/>
                    <a:pt x="25" y="305"/>
                    <a:pt x="24" y="302"/>
                  </a:cubicBezTo>
                  <a:cubicBezTo>
                    <a:pt x="24" y="301"/>
                    <a:pt x="24" y="301"/>
                    <a:pt x="24" y="301"/>
                  </a:cubicBezTo>
                  <a:cubicBezTo>
                    <a:pt x="23" y="299"/>
                    <a:pt x="23" y="297"/>
                    <a:pt x="22" y="296"/>
                  </a:cubicBezTo>
                  <a:cubicBezTo>
                    <a:pt x="21" y="293"/>
                    <a:pt x="20" y="290"/>
                    <a:pt x="19" y="287"/>
                  </a:cubicBezTo>
                  <a:cubicBezTo>
                    <a:pt x="19" y="285"/>
                    <a:pt x="18" y="283"/>
                    <a:pt x="18" y="282"/>
                  </a:cubicBezTo>
                  <a:cubicBezTo>
                    <a:pt x="17" y="278"/>
                    <a:pt x="16" y="275"/>
                    <a:pt x="15" y="272"/>
                  </a:cubicBezTo>
                  <a:cubicBezTo>
                    <a:pt x="15" y="271"/>
                    <a:pt x="15" y="270"/>
                    <a:pt x="15" y="268"/>
                  </a:cubicBezTo>
                  <a:cubicBezTo>
                    <a:pt x="14" y="267"/>
                    <a:pt x="14" y="266"/>
                    <a:pt x="14" y="265"/>
                  </a:cubicBezTo>
                  <a:cubicBezTo>
                    <a:pt x="13" y="262"/>
                    <a:pt x="12" y="259"/>
                    <a:pt x="11" y="255"/>
                  </a:cubicBezTo>
                  <a:cubicBezTo>
                    <a:pt x="11" y="254"/>
                    <a:pt x="11" y="252"/>
                    <a:pt x="11" y="251"/>
                  </a:cubicBezTo>
                  <a:cubicBezTo>
                    <a:pt x="10" y="250"/>
                    <a:pt x="10" y="250"/>
                    <a:pt x="10" y="250"/>
                  </a:cubicBezTo>
                  <a:cubicBezTo>
                    <a:pt x="10" y="247"/>
                    <a:pt x="9" y="244"/>
                    <a:pt x="8" y="241"/>
                  </a:cubicBezTo>
                  <a:cubicBezTo>
                    <a:pt x="8" y="240"/>
                    <a:pt x="8" y="239"/>
                    <a:pt x="8" y="238"/>
                  </a:cubicBezTo>
                  <a:cubicBezTo>
                    <a:pt x="8" y="237"/>
                    <a:pt x="8" y="235"/>
                    <a:pt x="7" y="234"/>
                  </a:cubicBezTo>
                  <a:cubicBezTo>
                    <a:pt x="7" y="231"/>
                    <a:pt x="6" y="228"/>
                    <a:pt x="6" y="225"/>
                  </a:cubicBezTo>
                  <a:cubicBezTo>
                    <a:pt x="6" y="223"/>
                    <a:pt x="5" y="221"/>
                    <a:pt x="5" y="219"/>
                  </a:cubicBezTo>
                  <a:cubicBezTo>
                    <a:pt x="5" y="216"/>
                    <a:pt x="4" y="213"/>
                    <a:pt x="4" y="210"/>
                  </a:cubicBezTo>
                  <a:cubicBezTo>
                    <a:pt x="4" y="209"/>
                    <a:pt x="3" y="207"/>
                    <a:pt x="3" y="205"/>
                  </a:cubicBezTo>
                  <a:cubicBezTo>
                    <a:pt x="3" y="205"/>
                    <a:pt x="3" y="204"/>
                    <a:pt x="3" y="204"/>
                  </a:cubicBezTo>
                  <a:cubicBezTo>
                    <a:pt x="3" y="201"/>
                    <a:pt x="2" y="198"/>
                    <a:pt x="2" y="195"/>
                  </a:cubicBezTo>
                  <a:cubicBezTo>
                    <a:pt x="2" y="194"/>
                    <a:pt x="2" y="193"/>
                    <a:pt x="2" y="192"/>
                  </a:cubicBezTo>
                  <a:cubicBezTo>
                    <a:pt x="2" y="191"/>
                    <a:pt x="2" y="190"/>
                    <a:pt x="2" y="189"/>
                  </a:cubicBezTo>
                  <a:cubicBezTo>
                    <a:pt x="1" y="185"/>
                    <a:pt x="1" y="182"/>
                    <a:pt x="1" y="179"/>
                  </a:cubicBezTo>
                  <a:cubicBezTo>
                    <a:pt x="1" y="177"/>
                    <a:pt x="1" y="176"/>
                    <a:pt x="1" y="175"/>
                  </a:cubicBezTo>
                  <a:cubicBezTo>
                    <a:pt x="1" y="174"/>
                    <a:pt x="0" y="173"/>
                    <a:pt x="0" y="171"/>
                  </a:cubicBezTo>
                  <a:cubicBezTo>
                    <a:pt x="0" y="168"/>
                    <a:pt x="0" y="165"/>
                    <a:pt x="0" y="162"/>
                  </a:cubicBezTo>
                  <a:cubicBezTo>
                    <a:pt x="0" y="160"/>
                    <a:pt x="0" y="158"/>
                    <a:pt x="0" y="156"/>
                  </a:cubicBezTo>
                  <a:cubicBezTo>
                    <a:pt x="0" y="153"/>
                    <a:pt x="0" y="151"/>
                    <a:pt x="0" y="148"/>
                  </a:cubicBezTo>
                  <a:cubicBezTo>
                    <a:pt x="0" y="146"/>
                    <a:pt x="0" y="144"/>
                    <a:pt x="0" y="141"/>
                  </a:cubicBezTo>
                  <a:cubicBezTo>
                    <a:pt x="0" y="139"/>
                    <a:pt x="0" y="136"/>
                    <a:pt x="0" y="134"/>
                  </a:cubicBezTo>
                  <a:cubicBezTo>
                    <a:pt x="0" y="131"/>
                    <a:pt x="0" y="129"/>
                    <a:pt x="0" y="127"/>
                  </a:cubicBezTo>
                  <a:cubicBezTo>
                    <a:pt x="0" y="124"/>
                    <a:pt x="0" y="122"/>
                    <a:pt x="1" y="119"/>
                  </a:cubicBezTo>
                  <a:cubicBezTo>
                    <a:pt x="1" y="117"/>
                    <a:pt x="1" y="115"/>
                    <a:pt x="1" y="114"/>
                  </a:cubicBezTo>
                  <a:cubicBezTo>
                    <a:pt x="1" y="113"/>
                    <a:pt x="1" y="113"/>
                    <a:pt x="1" y="113"/>
                  </a:cubicBezTo>
                  <a:cubicBezTo>
                    <a:pt x="1" y="108"/>
                    <a:pt x="2" y="104"/>
                    <a:pt x="2" y="99"/>
                  </a:cubicBezTo>
                  <a:cubicBezTo>
                    <a:pt x="2" y="98"/>
                    <a:pt x="2" y="97"/>
                    <a:pt x="2" y="96"/>
                  </a:cubicBezTo>
                  <a:cubicBezTo>
                    <a:pt x="3" y="92"/>
                    <a:pt x="3" y="89"/>
                    <a:pt x="3" y="86"/>
                  </a:cubicBezTo>
                  <a:cubicBezTo>
                    <a:pt x="4" y="83"/>
                    <a:pt x="4" y="81"/>
                    <a:pt x="4" y="79"/>
                  </a:cubicBezTo>
                  <a:cubicBezTo>
                    <a:pt x="5" y="76"/>
                    <a:pt x="5" y="74"/>
                    <a:pt x="5" y="72"/>
                  </a:cubicBezTo>
                  <a:cubicBezTo>
                    <a:pt x="6" y="69"/>
                    <a:pt x="6" y="67"/>
                    <a:pt x="6" y="65"/>
                  </a:cubicBezTo>
                  <a:cubicBezTo>
                    <a:pt x="7" y="62"/>
                    <a:pt x="7" y="60"/>
                    <a:pt x="8" y="57"/>
                  </a:cubicBezTo>
                  <a:cubicBezTo>
                    <a:pt x="8" y="55"/>
                    <a:pt x="8" y="53"/>
                    <a:pt x="9" y="51"/>
                  </a:cubicBezTo>
                  <a:cubicBezTo>
                    <a:pt x="9" y="47"/>
                    <a:pt x="10" y="44"/>
                    <a:pt x="11" y="40"/>
                  </a:cubicBezTo>
                  <a:cubicBezTo>
                    <a:pt x="11" y="39"/>
                    <a:pt x="11" y="38"/>
                    <a:pt x="12" y="37"/>
                  </a:cubicBezTo>
                  <a:cubicBezTo>
                    <a:pt x="13" y="33"/>
                    <a:pt x="14" y="29"/>
                    <a:pt x="15" y="24"/>
                  </a:cubicBezTo>
                  <a:cubicBezTo>
                    <a:pt x="15" y="22"/>
                    <a:pt x="16" y="20"/>
                    <a:pt x="16" y="18"/>
                  </a:cubicBezTo>
                  <a:cubicBezTo>
                    <a:pt x="17" y="16"/>
                    <a:pt x="17" y="13"/>
                    <a:pt x="18" y="10"/>
                  </a:cubicBezTo>
                  <a:cubicBezTo>
                    <a:pt x="19" y="8"/>
                    <a:pt x="19" y="6"/>
                    <a:pt x="20" y="4"/>
                  </a:cubicBezTo>
                  <a:cubicBezTo>
                    <a:pt x="20" y="3"/>
                    <a:pt x="21" y="1"/>
                    <a:pt x="21" y="0"/>
                  </a:cubicBezTo>
                  <a:cubicBezTo>
                    <a:pt x="23" y="82"/>
                    <a:pt x="46" y="165"/>
                    <a:pt x="90" y="242"/>
                  </a:cubicBezTo>
                  <a:cubicBezTo>
                    <a:pt x="145" y="338"/>
                    <a:pt x="226" y="409"/>
                    <a:pt x="320" y="451"/>
                  </a:cubicBezTo>
                  <a:cubicBezTo>
                    <a:pt x="316" y="459"/>
                    <a:pt x="314" y="467"/>
                    <a:pt x="314" y="478"/>
                  </a:cubicBezTo>
                  <a:cubicBezTo>
                    <a:pt x="316" y="529"/>
                    <a:pt x="296" y="544"/>
                    <a:pt x="343" y="582"/>
                  </a:cubicBezTo>
                  <a:cubicBezTo>
                    <a:pt x="374" y="607"/>
                    <a:pt x="401" y="628"/>
                    <a:pt x="418" y="650"/>
                  </a:cubicBezTo>
                  <a:cubicBezTo>
                    <a:pt x="400" y="647"/>
                    <a:pt x="383" y="642"/>
                    <a:pt x="366" y="637"/>
                  </a:cubicBezTo>
                  <a:cubicBezTo>
                    <a:pt x="365" y="637"/>
                    <a:pt x="365" y="637"/>
                    <a:pt x="365" y="637"/>
                  </a:cubicBezTo>
                  <a:cubicBezTo>
                    <a:pt x="365" y="637"/>
                    <a:pt x="365" y="637"/>
                    <a:pt x="365" y="637"/>
                  </a:cubicBezTo>
                  <a:cubicBezTo>
                    <a:pt x="361" y="636"/>
                    <a:pt x="357" y="635"/>
                    <a:pt x="353" y="633"/>
                  </a:cubicBezTo>
                  <a:cubicBezTo>
                    <a:pt x="353" y="633"/>
                    <a:pt x="352" y="633"/>
                    <a:pt x="352" y="633"/>
                  </a:cubicBezTo>
                  <a:cubicBezTo>
                    <a:pt x="348" y="632"/>
                    <a:pt x="344" y="630"/>
                    <a:pt x="341" y="629"/>
                  </a:cubicBezTo>
                  <a:cubicBezTo>
                    <a:pt x="340" y="629"/>
                    <a:pt x="339" y="628"/>
                    <a:pt x="338" y="628"/>
                  </a:cubicBezTo>
                  <a:cubicBezTo>
                    <a:pt x="335" y="627"/>
                    <a:pt x="332" y="626"/>
                    <a:pt x="328" y="624"/>
                  </a:cubicBezTo>
                  <a:cubicBezTo>
                    <a:pt x="327" y="624"/>
                    <a:pt x="327" y="624"/>
                    <a:pt x="326" y="624"/>
                  </a:cubicBezTo>
                  <a:cubicBezTo>
                    <a:pt x="323" y="622"/>
                    <a:pt x="319" y="621"/>
                    <a:pt x="316" y="619"/>
                  </a:cubicBezTo>
                  <a:cubicBezTo>
                    <a:pt x="316" y="619"/>
                    <a:pt x="315" y="619"/>
                    <a:pt x="315" y="619"/>
                  </a:cubicBezTo>
                  <a:cubicBezTo>
                    <a:pt x="314" y="619"/>
                    <a:pt x="314" y="619"/>
                    <a:pt x="314" y="619"/>
                  </a:cubicBezTo>
                  <a:cubicBezTo>
                    <a:pt x="310" y="617"/>
                    <a:pt x="307" y="616"/>
                    <a:pt x="303" y="614"/>
                  </a:cubicBezTo>
                  <a:cubicBezTo>
                    <a:pt x="303" y="614"/>
                    <a:pt x="302" y="614"/>
                    <a:pt x="302" y="613"/>
                  </a:cubicBezTo>
                  <a:cubicBezTo>
                    <a:pt x="301" y="613"/>
                    <a:pt x="301" y="613"/>
                    <a:pt x="301" y="613"/>
                  </a:cubicBezTo>
                  <a:cubicBezTo>
                    <a:pt x="298" y="612"/>
                    <a:pt x="294" y="610"/>
                    <a:pt x="291" y="608"/>
                  </a:cubicBezTo>
                  <a:cubicBezTo>
                    <a:pt x="290" y="608"/>
                    <a:pt x="290" y="608"/>
                    <a:pt x="289" y="608"/>
                  </a:cubicBezTo>
                  <a:cubicBezTo>
                    <a:pt x="273" y="600"/>
                    <a:pt x="258" y="591"/>
                    <a:pt x="243" y="582"/>
                  </a:cubicBezTo>
                  <a:cubicBezTo>
                    <a:pt x="242" y="581"/>
                    <a:pt x="242" y="581"/>
                    <a:pt x="242" y="581"/>
                  </a:cubicBezTo>
                  <a:cubicBezTo>
                    <a:pt x="241" y="581"/>
                    <a:pt x="241" y="581"/>
                    <a:pt x="240" y="581"/>
                  </a:cubicBezTo>
                  <a:cubicBezTo>
                    <a:pt x="237" y="579"/>
                    <a:pt x="234" y="577"/>
                    <a:pt x="231" y="575"/>
                  </a:cubicBezTo>
                  <a:cubicBezTo>
                    <a:pt x="231" y="574"/>
                    <a:pt x="230" y="574"/>
                    <a:pt x="229" y="573"/>
                  </a:cubicBezTo>
                  <a:cubicBezTo>
                    <a:pt x="226" y="571"/>
                    <a:pt x="223" y="569"/>
                    <a:pt x="221" y="568"/>
                  </a:cubicBezTo>
                  <a:cubicBezTo>
                    <a:pt x="220" y="567"/>
                    <a:pt x="220" y="567"/>
                    <a:pt x="220" y="567"/>
                  </a:cubicBezTo>
                  <a:cubicBezTo>
                    <a:pt x="219" y="567"/>
                    <a:pt x="218" y="566"/>
                    <a:pt x="217" y="565"/>
                  </a:cubicBezTo>
                  <a:cubicBezTo>
                    <a:pt x="215" y="564"/>
                    <a:pt x="212" y="562"/>
                    <a:pt x="210" y="560"/>
                  </a:cubicBezTo>
                  <a:cubicBezTo>
                    <a:pt x="209" y="559"/>
                    <a:pt x="208" y="558"/>
                    <a:pt x="206" y="557"/>
                  </a:cubicBezTo>
                  <a:cubicBezTo>
                    <a:pt x="204" y="556"/>
                    <a:pt x="202" y="554"/>
                    <a:pt x="199" y="552"/>
                  </a:cubicBezTo>
                  <a:cubicBezTo>
                    <a:pt x="198" y="551"/>
                    <a:pt x="197" y="550"/>
                    <a:pt x="196" y="549"/>
                  </a:cubicBezTo>
                  <a:cubicBezTo>
                    <a:pt x="193" y="547"/>
                    <a:pt x="191" y="546"/>
                    <a:pt x="189" y="544"/>
                  </a:cubicBezTo>
                  <a:cubicBezTo>
                    <a:pt x="188" y="543"/>
                    <a:pt x="187" y="542"/>
                    <a:pt x="186" y="542"/>
                  </a:cubicBezTo>
                  <a:cubicBezTo>
                    <a:pt x="185" y="541"/>
                    <a:pt x="185" y="541"/>
                    <a:pt x="185" y="541"/>
                  </a:cubicBezTo>
                  <a:cubicBezTo>
                    <a:pt x="183" y="539"/>
                    <a:pt x="181" y="537"/>
                    <a:pt x="178" y="535"/>
                  </a:cubicBezTo>
                  <a:cubicBezTo>
                    <a:pt x="177" y="534"/>
                    <a:pt x="176" y="533"/>
                    <a:pt x="175" y="532"/>
                  </a:cubicBezTo>
                  <a:cubicBezTo>
                    <a:pt x="173" y="530"/>
                    <a:pt x="170" y="528"/>
                    <a:pt x="167" y="525"/>
                  </a:cubicBezTo>
                  <a:cubicBezTo>
                    <a:pt x="167" y="525"/>
                    <a:pt x="166" y="524"/>
                    <a:pt x="165" y="523"/>
                  </a:cubicBezTo>
                  <a:cubicBezTo>
                    <a:pt x="159" y="517"/>
                    <a:pt x="152" y="511"/>
                    <a:pt x="146" y="505"/>
                  </a:cubicBezTo>
                  <a:cubicBezTo>
                    <a:pt x="145" y="504"/>
                    <a:pt x="144" y="503"/>
                    <a:pt x="144" y="502"/>
                  </a:cubicBezTo>
                  <a:cubicBezTo>
                    <a:pt x="141" y="500"/>
                    <a:pt x="139" y="497"/>
                    <a:pt x="137" y="495"/>
                  </a:cubicBezTo>
                  <a:cubicBezTo>
                    <a:pt x="136" y="494"/>
                    <a:pt x="136" y="494"/>
                    <a:pt x="135" y="493"/>
                  </a:cubicBezTo>
                  <a:cubicBezTo>
                    <a:pt x="135" y="493"/>
                    <a:pt x="134" y="492"/>
                    <a:pt x="134" y="491"/>
                  </a:cubicBezTo>
                  <a:cubicBezTo>
                    <a:pt x="132" y="489"/>
                    <a:pt x="130" y="487"/>
                    <a:pt x="128" y="485"/>
                  </a:cubicBezTo>
                  <a:cubicBezTo>
                    <a:pt x="127" y="484"/>
                    <a:pt x="125" y="482"/>
                    <a:pt x="124" y="481"/>
                  </a:cubicBezTo>
                  <a:cubicBezTo>
                    <a:pt x="122" y="479"/>
                    <a:pt x="121" y="477"/>
                    <a:pt x="119" y="475"/>
                  </a:cubicBezTo>
                  <a:cubicBezTo>
                    <a:pt x="118" y="473"/>
                    <a:pt x="117" y="472"/>
                    <a:pt x="115" y="470"/>
                  </a:cubicBezTo>
                  <a:cubicBezTo>
                    <a:pt x="114" y="468"/>
                    <a:pt x="112" y="466"/>
                    <a:pt x="110" y="464"/>
                  </a:cubicBezTo>
                  <a:cubicBezTo>
                    <a:pt x="109" y="463"/>
                    <a:pt x="108" y="461"/>
                    <a:pt x="107" y="460"/>
                  </a:cubicBezTo>
                  <a:cubicBezTo>
                    <a:pt x="105" y="458"/>
                    <a:pt x="104" y="455"/>
                    <a:pt x="102" y="453"/>
                  </a:cubicBezTo>
                  <a:cubicBezTo>
                    <a:pt x="101" y="452"/>
                    <a:pt x="100" y="450"/>
                    <a:pt x="99" y="449"/>
                  </a:cubicBezTo>
                  <a:cubicBezTo>
                    <a:pt x="97" y="447"/>
                    <a:pt x="96" y="444"/>
                    <a:pt x="94" y="442"/>
                  </a:cubicBezTo>
                  <a:cubicBezTo>
                    <a:pt x="93" y="441"/>
                    <a:pt x="92" y="439"/>
                    <a:pt x="91" y="438"/>
                  </a:cubicBezTo>
                  <a:cubicBezTo>
                    <a:pt x="91" y="438"/>
                    <a:pt x="91" y="438"/>
                    <a:pt x="91" y="438"/>
                  </a:cubicBezTo>
                  <a:cubicBezTo>
                    <a:pt x="89" y="435"/>
                    <a:pt x="88" y="433"/>
                    <a:pt x="86" y="431"/>
                  </a:cubicBezTo>
                  <a:cubicBezTo>
                    <a:pt x="85" y="430"/>
                    <a:pt x="85" y="429"/>
                    <a:pt x="84" y="428"/>
                  </a:cubicBezTo>
                  <a:cubicBezTo>
                    <a:pt x="84" y="427"/>
                    <a:pt x="83" y="427"/>
                    <a:pt x="83" y="426"/>
                  </a:cubicBezTo>
                  <a:cubicBezTo>
                    <a:pt x="81" y="424"/>
                    <a:pt x="80" y="421"/>
                    <a:pt x="78" y="418"/>
                  </a:cubicBezTo>
                  <a:cubicBezTo>
                    <a:pt x="77" y="417"/>
                    <a:pt x="76" y="416"/>
                    <a:pt x="76" y="414"/>
                  </a:cubicBezTo>
                  <a:cubicBezTo>
                    <a:pt x="73" y="410"/>
                    <a:pt x="71" y="406"/>
                    <a:pt x="68" y="402"/>
                  </a:cubicBezTo>
                  <a:cubicBezTo>
                    <a:pt x="66" y="398"/>
                    <a:pt x="64" y="394"/>
                    <a:pt x="61" y="389"/>
                  </a:cubicBezTo>
                  <a:cubicBezTo>
                    <a:pt x="61" y="388"/>
                    <a:pt x="60" y="388"/>
                    <a:pt x="60" y="387"/>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0" name="Freeform 46"/>
            <p:cNvSpPr>
              <a:spLocks/>
            </p:cNvSpPr>
            <p:nvPr userDrawn="1"/>
          </p:nvSpPr>
          <p:spPr bwMode="auto">
            <a:xfrm flipH="1">
              <a:off x="2008188" y="1922463"/>
              <a:ext cx="860425" cy="803275"/>
            </a:xfrm>
            <a:custGeom>
              <a:avLst/>
              <a:gdLst>
                <a:gd name="T0" fmla="*/ 473 w 543"/>
                <a:gd name="T1" fmla="*/ 242 h 506"/>
                <a:gd name="T2" fmla="*/ 542 w 543"/>
                <a:gd name="T3" fmla="*/ 506 h 506"/>
                <a:gd name="T4" fmla="*/ 420 w 543"/>
                <a:gd name="T5" fmla="*/ 307 h 506"/>
                <a:gd name="T6" fmla="*/ 323 w 543"/>
                <a:gd name="T7" fmla="*/ 384 h 506"/>
                <a:gd name="T8" fmla="*/ 219 w 543"/>
                <a:gd name="T9" fmla="*/ 269 h 506"/>
                <a:gd name="T10" fmla="*/ 64 w 543"/>
                <a:gd name="T11" fmla="*/ 299 h 506"/>
                <a:gd name="T12" fmla="*/ 121 w 543"/>
                <a:gd name="T13" fmla="*/ 111 h 506"/>
                <a:gd name="T14" fmla="*/ 148 w 543"/>
                <a:gd name="T15" fmla="*/ 0 h 506"/>
                <a:gd name="T16" fmla="*/ 473 w 543"/>
                <a:gd name="T17" fmla="*/ 242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506">
                  <a:moveTo>
                    <a:pt x="473" y="242"/>
                  </a:moveTo>
                  <a:cubicBezTo>
                    <a:pt x="521" y="325"/>
                    <a:pt x="543" y="417"/>
                    <a:pt x="542" y="506"/>
                  </a:cubicBezTo>
                  <a:cubicBezTo>
                    <a:pt x="512" y="383"/>
                    <a:pt x="467" y="318"/>
                    <a:pt x="420" y="307"/>
                  </a:cubicBezTo>
                  <a:cubicBezTo>
                    <a:pt x="373" y="297"/>
                    <a:pt x="404" y="404"/>
                    <a:pt x="323" y="384"/>
                  </a:cubicBezTo>
                  <a:cubicBezTo>
                    <a:pt x="242" y="363"/>
                    <a:pt x="315" y="289"/>
                    <a:pt x="219" y="269"/>
                  </a:cubicBezTo>
                  <a:cubicBezTo>
                    <a:pt x="123" y="249"/>
                    <a:pt x="128" y="334"/>
                    <a:pt x="64" y="299"/>
                  </a:cubicBezTo>
                  <a:cubicBezTo>
                    <a:pt x="0" y="264"/>
                    <a:pt x="61" y="169"/>
                    <a:pt x="121" y="111"/>
                  </a:cubicBezTo>
                  <a:cubicBezTo>
                    <a:pt x="154" y="79"/>
                    <a:pt x="154" y="34"/>
                    <a:pt x="148" y="0"/>
                  </a:cubicBezTo>
                  <a:cubicBezTo>
                    <a:pt x="280" y="31"/>
                    <a:pt x="400" y="115"/>
                    <a:pt x="473" y="24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 name="Freeform 47"/>
            <p:cNvSpPr>
              <a:spLocks/>
            </p:cNvSpPr>
            <p:nvPr userDrawn="1"/>
          </p:nvSpPr>
          <p:spPr bwMode="auto">
            <a:xfrm flipH="1">
              <a:off x="2247900" y="2522538"/>
              <a:ext cx="636588" cy="747713"/>
            </a:xfrm>
            <a:custGeom>
              <a:avLst/>
              <a:gdLst>
                <a:gd name="T0" fmla="*/ 204 w 402"/>
                <a:gd name="T1" fmla="*/ 59 h 471"/>
                <a:gd name="T2" fmla="*/ 74 w 402"/>
                <a:gd name="T3" fmla="*/ 79 h 471"/>
                <a:gd name="T4" fmla="*/ 5 w 402"/>
                <a:gd name="T5" fmla="*/ 203 h 471"/>
                <a:gd name="T6" fmla="*/ 63 w 402"/>
                <a:gd name="T7" fmla="*/ 304 h 471"/>
                <a:gd name="T8" fmla="*/ 208 w 402"/>
                <a:gd name="T9" fmla="*/ 327 h 471"/>
                <a:gd name="T10" fmla="*/ 297 w 402"/>
                <a:gd name="T11" fmla="*/ 373 h 471"/>
                <a:gd name="T12" fmla="*/ 322 w 402"/>
                <a:gd name="T13" fmla="*/ 144 h 471"/>
                <a:gd name="T14" fmla="*/ 204 w 402"/>
                <a:gd name="T15" fmla="*/ 59 h 4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2" h="471">
                  <a:moveTo>
                    <a:pt x="204" y="59"/>
                  </a:moveTo>
                  <a:cubicBezTo>
                    <a:pt x="145" y="0"/>
                    <a:pt x="94" y="4"/>
                    <a:pt x="74" y="79"/>
                  </a:cubicBezTo>
                  <a:cubicBezTo>
                    <a:pt x="55" y="155"/>
                    <a:pt x="9" y="118"/>
                    <a:pt x="5" y="203"/>
                  </a:cubicBezTo>
                  <a:cubicBezTo>
                    <a:pt x="0" y="287"/>
                    <a:pt x="0" y="309"/>
                    <a:pt x="63" y="304"/>
                  </a:cubicBezTo>
                  <a:cubicBezTo>
                    <a:pt x="126" y="299"/>
                    <a:pt x="189" y="256"/>
                    <a:pt x="208" y="327"/>
                  </a:cubicBezTo>
                  <a:cubicBezTo>
                    <a:pt x="227" y="397"/>
                    <a:pt x="263" y="471"/>
                    <a:pt x="297" y="373"/>
                  </a:cubicBezTo>
                  <a:cubicBezTo>
                    <a:pt x="331" y="274"/>
                    <a:pt x="402" y="213"/>
                    <a:pt x="322" y="144"/>
                  </a:cubicBezTo>
                  <a:cubicBezTo>
                    <a:pt x="242" y="75"/>
                    <a:pt x="204" y="59"/>
                    <a:pt x="204" y="5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2" name="Freeform 48"/>
            <p:cNvSpPr>
              <a:spLocks/>
            </p:cNvSpPr>
            <p:nvPr userDrawn="1"/>
          </p:nvSpPr>
          <p:spPr bwMode="auto">
            <a:xfrm flipH="1">
              <a:off x="2974976" y="1914525"/>
              <a:ext cx="438150" cy="336550"/>
            </a:xfrm>
            <a:custGeom>
              <a:avLst/>
              <a:gdLst>
                <a:gd name="T0" fmla="*/ 116 w 276"/>
                <a:gd name="T1" fmla="*/ 59 h 212"/>
                <a:gd name="T2" fmla="*/ 274 w 276"/>
                <a:gd name="T3" fmla="*/ 0 h 212"/>
                <a:gd name="T4" fmla="*/ 222 w 276"/>
                <a:gd name="T5" fmla="*/ 113 h 212"/>
                <a:gd name="T6" fmla="*/ 135 w 276"/>
                <a:gd name="T7" fmla="*/ 175 h 212"/>
                <a:gd name="T8" fmla="*/ 43 w 276"/>
                <a:gd name="T9" fmla="*/ 154 h 212"/>
                <a:gd name="T10" fmla="*/ 0 w 276"/>
                <a:gd name="T11" fmla="*/ 151 h 212"/>
                <a:gd name="T12" fmla="*/ 116 w 276"/>
                <a:gd name="T13" fmla="*/ 59 h 212"/>
              </a:gdLst>
              <a:ahLst/>
              <a:cxnLst>
                <a:cxn ang="0">
                  <a:pos x="T0" y="T1"/>
                </a:cxn>
                <a:cxn ang="0">
                  <a:pos x="T2" y="T3"/>
                </a:cxn>
                <a:cxn ang="0">
                  <a:pos x="T4" y="T5"/>
                </a:cxn>
                <a:cxn ang="0">
                  <a:pos x="T6" y="T7"/>
                </a:cxn>
                <a:cxn ang="0">
                  <a:pos x="T8" y="T9"/>
                </a:cxn>
                <a:cxn ang="0">
                  <a:pos x="T10" y="T11"/>
                </a:cxn>
                <a:cxn ang="0">
                  <a:pos x="T12" y="T13"/>
                </a:cxn>
              </a:cxnLst>
              <a:rect l="0" t="0" r="r" b="b"/>
              <a:pathLst>
                <a:path w="276" h="212">
                  <a:moveTo>
                    <a:pt x="116" y="59"/>
                  </a:moveTo>
                  <a:cubicBezTo>
                    <a:pt x="166" y="30"/>
                    <a:pt x="220" y="11"/>
                    <a:pt x="274" y="0"/>
                  </a:cubicBezTo>
                  <a:cubicBezTo>
                    <a:pt x="268" y="49"/>
                    <a:pt x="276" y="95"/>
                    <a:pt x="222" y="113"/>
                  </a:cubicBezTo>
                  <a:cubicBezTo>
                    <a:pt x="169" y="131"/>
                    <a:pt x="177" y="138"/>
                    <a:pt x="135" y="175"/>
                  </a:cubicBezTo>
                  <a:cubicBezTo>
                    <a:pt x="94" y="212"/>
                    <a:pt x="90" y="153"/>
                    <a:pt x="43" y="154"/>
                  </a:cubicBezTo>
                  <a:cubicBezTo>
                    <a:pt x="30" y="154"/>
                    <a:pt x="14" y="153"/>
                    <a:pt x="0" y="151"/>
                  </a:cubicBezTo>
                  <a:cubicBezTo>
                    <a:pt x="33" y="116"/>
                    <a:pt x="72" y="85"/>
                    <a:pt x="116" y="5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3" name="Freeform 49"/>
            <p:cNvSpPr>
              <a:spLocks/>
            </p:cNvSpPr>
            <p:nvPr userDrawn="1"/>
          </p:nvSpPr>
          <p:spPr bwMode="auto">
            <a:xfrm flipH="1">
              <a:off x="2387601" y="3267075"/>
              <a:ext cx="307975" cy="249238"/>
            </a:xfrm>
            <a:custGeom>
              <a:avLst/>
              <a:gdLst>
                <a:gd name="T0" fmla="*/ 14 w 195"/>
                <a:gd name="T1" fmla="*/ 114 h 157"/>
                <a:gd name="T2" fmla="*/ 60 w 195"/>
                <a:gd name="T3" fmla="*/ 69 h 157"/>
                <a:gd name="T4" fmla="*/ 153 w 195"/>
                <a:gd name="T5" fmla="*/ 54 h 157"/>
                <a:gd name="T6" fmla="*/ 195 w 195"/>
                <a:gd name="T7" fmla="*/ 84 h 157"/>
                <a:gd name="T8" fmla="*/ 176 w 195"/>
                <a:gd name="T9" fmla="*/ 95 h 157"/>
                <a:gd name="T10" fmla="*/ 1 w 195"/>
                <a:gd name="T11" fmla="*/ 157 h 157"/>
                <a:gd name="T12" fmla="*/ 14 w 195"/>
                <a:gd name="T13" fmla="*/ 114 h 157"/>
              </a:gdLst>
              <a:ahLst/>
              <a:cxnLst>
                <a:cxn ang="0">
                  <a:pos x="T0" y="T1"/>
                </a:cxn>
                <a:cxn ang="0">
                  <a:pos x="T2" y="T3"/>
                </a:cxn>
                <a:cxn ang="0">
                  <a:pos x="T4" y="T5"/>
                </a:cxn>
                <a:cxn ang="0">
                  <a:pos x="T6" y="T7"/>
                </a:cxn>
                <a:cxn ang="0">
                  <a:pos x="T8" y="T9"/>
                </a:cxn>
                <a:cxn ang="0">
                  <a:pos x="T10" y="T11"/>
                </a:cxn>
                <a:cxn ang="0">
                  <a:pos x="T12" y="T13"/>
                </a:cxn>
              </a:cxnLst>
              <a:rect l="0" t="0" r="r" b="b"/>
              <a:pathLst>
                <a:path w="195" h="157">
                  <a:moveTo>
                    <a:pt x="14" y="114"/>
                  </a:moveTo>
                  <a:cubicBezTo>
                    <a:pt x="39" y="103"/>
                    <a:pt x="62" y="115"/>
                    <a:pt x="60" y="69"/>
                  </a:cubicBezTo>
                  <a:cubicBezTo>
                    <a:pt x="59" y="22"/>
                    <a:pt x="87" y="0"/>
                    <a:pt x="153" y="54"/>
                  </a:cubicBezTo>
                  <a:cubicBezTo>
                    <a:pt x="172" y="69"/>
                    <a:pt x="185" y="79"/>
                    <a:pt x="195" y="84"/>
                  </a:cubicBezTo>
                  <a:cubicBezTo>
                    <a:pt x="189" y="87"/>
                    <a:pt x="183" y="91"/>
                    <a:pt x="176" y="95"/>
                  </a:cubicBezTo>
                  <a:cubicBezTo>
                    <a:pt x="121" y="127"/>
                    <a:pt x="61" y="148"/>
                    <a:pt x="1" y="157"/>
                  </a:cubicBezTo>
                  <a:cubicBezTo>
                    <a:pt x="0" y="138"/>
                    <a:pt x="0" y="120"/>
                    <a:pt x="14" y="114"/>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4" name="Freeform 50"/>
            <p:cNvSpPr>
              <a:spLocks noEditPoints="1"/>
            </p:cNvSpPr>
            <p:nvPr userDrawn="1"/>
          </p:nvSpPr>
          <p:spPr bwMode="auto">
            <a:xfrm flipH="1">
              <a:off x="1509713" y="1576388"/>
              <a:ext cx="2624138" cy="2624138"/>
            </a:xfrm>
            <a:custGeom>
              <a:avLst/>
              <a:gdLst>
                <a:gd name="T0" fmla="*/ 861 w 1654"/>
                <a:gd name="T1" fmla="*/ 1653 h 1653"/>
                <a:gd name="T2" fmla="*/ 737 w 1654"/>
                <a:gd name="T3" fmla="*/ 1605 h 1653"/>
                <a:gd name="T4" fmla="*/ 965 w 1654"/>
                <a:gd name="T5" fmla="*/ 1598 h 1653"/>
                <a:gd name="T6" fmla="*/ 623 w 1654"/>
                <a:gd name="T7" fmla="*/ 1628 h 1653"/>
                <a:gd name="T8" fmla="*/ 628 w 1654"/>
                <a:gd name="T9" fmla="*/ 1629 h 1653"/>
                <a:gd name="T10" fmla="*/ 1097 w 1654"/>
                <a:gd name="T11" fmla="*/ 1609 h 1653"/>
                <a:gd name="T12" fmla="*/ 489 w 1654"/>
                <a:gd name="T13" fmla="*/ 1558 h 1653"/>
                <a:gd name="T14" fmla="*/ 1171 w 1654"/>
                <a:gd name="T15" fmla="*/ 1556 h 1653"/>
                <a:gd name="T16" fmla="*/ 1190 w 1654"/>
                <a:gd name="T17" fmla="*/ 1568 h 1653"/>
                <a:gd name="T18" fmla="*/ 424 w 1654"/>
                <a:gd name="T19" fmla="*/ 1498 h 1653"/>
                <a:gd name="T20" fmla="*/ 1285 w 1654"/>
                <a:gd name="T21" fmla="*/ 1463 h 1653"/>
                <a:gd name="T22" fmla="*/ 303 w 1654"/>
                <a:gd name="T23" fmla="*/ 1466 h 1653"/>
                <a:gd name="T24" fmla="*/ 317 w 1654"/>
                <a:gd name="T25" fmla="*/ 1471 h 1653"/>
                <a:gd name="T26" fmla="*/ 1403 w 1654"/>
                <a:gd name="T27" fmla="*/ 1421 h 1653"/>
                <a:gd name="T28" fmla="*/ 211 w 1654"/>
                <a:gd name="T29" fmla="*/ 1346 h 1653"/>
                <a:gd name="T30" fmla="*/ 1447 w 1654"/>
                <a:gd name="T31" fmla="*/ 1342 h 1653"/>
                <a:gd name="T32" fmla="*/ 1460 w 1654"/>
                <a:gd name="T33" fmla="*/ 1346 h 1653"/>
                <a:gd name="T34" fmla="*/ 177 w 1654"/>
                <a:gd name="T35" fmla="*/ 1264 h 1653"/>
                <a:gd name="T36" fmla="*/ 1511 w 1654"/>
                <a:gd name="T37" fmla="*/ 1209 h 1653"/>
                <a:gd name="T38" fmla="*/ 81 w 1654"/>
                <a:gd name="T39" fmla="*/ 1185 h 1653"/>
                <a:gd name="T40" fmla="*/ 101 w 1654"/>
                <a:gd name="T41" fmla="*/ 1197 h 1653"/>
                <a:gd name="T42" fmla="*/ 1600 w 1654"/>
                <a:gd name="T43" fmla="*/ 1122 h 1653"/>
                <a:gd name="T44" fmla="*/ 49 w 1654"/>
                <a:gd name="T45" fmla="*/ 1037 h 1653"/>
                <a:gd name="T46" fmla="*/ 1607 w 1654"/>
                <a:gd name="T47" fmla="*/ 1031 h 1653"/>
                <a:gd name="T48" fmla="*/ 1612 w 1654"/>
                <a:gd name="T49" fmla="*/ 1032 h 1653"/>
                <a:gd name="T50" fmla="*/ 53 w 1654"/>
                <a:gd name="T51" fmla="*/ 948 h 1653"/>
                <a:gd name="T52" fmla="*/ 1609 w 1654"/>
                <a:gd name="T53" fmla="*/ 884 h 1653"/>
                <a:gd name="T54" fmla="*/ 0 w 1654"/>
                <a:gd name="T55" fmla="*/ 835 h 1653"/>
                <a:gd name="T56" fmla="*/ 44 w 1654"/>
                <a:gd name="T57" fmla="*/ 808 h 1653"/>
                <a:gd name="T58" fmla="*/ 1631 w 1654"/>
                <a:gd name="T59" fmla="*/ 799 h 1653"/>
                <a:gd name="T60" fmla="*/ 1633 w 1654"/>
                <a:gd name="T61" fmla="*/ 799 h 1653"/>
                <a:gd name="T62" fmla="*/ 37 w 1654"/>
                <a:gd name="T63" fmla="*/ 669 h 1653"/>
                <a:gd name="T64" fmla="*/ 1593 w 1654"/>
                <a:gd name="T65" fmla="*/ 657 h 1653"/>
                <a:gd name="T66" fmla="*/ 58 w 1654"/>
                <a:gd name="T67" fmla="*/ 607 h 1653"/>
                <a:gd name="T68" fmla="*/ 79 w 1654"/>
                <a:gd name="T69" fmla="*/ 592 h 1653"/>
                <a:gd name="T70" fmla="*/ 1601 w 1654"/>
                <a:gd name="T71" fmla="*/ 532 h 1653"/>
                <a:gd name="T72" fmla="*/ 82 w 1654"/>
                <a:gd name="T73" fmla="*/ 467 h 1653"/>
                <a:gd name="T74" fmla="*/ 1535 w 1654"/>
                <a:gd name="T75" fmla="*/ 463 h 1653"/>
                <a:gd name="T76" fmla="*/ 1546 w 1654"/>
                <a:gd name="T77" fmla="*/ 461 h 1653"/>
                <a:gd name="T78" fmla="*/ 177 w 1654"/>
                <a:gd name="T79" fmla="*/ 350 h 1653"/>
                <a:gd name="T80" fmla="*/ 1449 w 1654"/>
                <a:gd name="T81" fmla="*/ 349 h 1653"/>
                <a:gd name="T82" fmla="*/ 233 w 1654"/>
                <a:gd name="T83" fmla="*/ 305 h 1653"/>
                <a:gd name="T84" fmla="*/ 249 w 1654"/>
                <a:gd name="T85" fmla="*/ 298 h 1653"/>
                <a:gd name="T86" fmla="*/ 1404 w 1654"/>
                <a:gd name="T87" fmla="*/ 233 h 1653"/>
                <a:gd name="T88" fmla="*/ 304 w 1654"/>
                <a:gd name="T89" fmla="*/ 186 h 1653"/>
                <a:gd name="T90" fmla="*/ 1306 w 1654"/>
                <a:gd name="T91" fmla="*/ 200 h 1653"/>
                <a:gd name="T92" fmla="*/ 1323 w 1654"/>
                <a:gd name="T93" fmla="*/ 191 h 1653"/>
                <a:gd name="T94" fmla="*/ 440 w 1654"/>
                <a:gd name="T95" fmla="*/ 120 h 1653"/>
                <a:gd name="T96" fmla="*/ 1189 w 1654"/>
                <a:gd name="T97" fmla="*/ 131 h 1653"/>
                <a:gd name="T98" fmla="*/ 518 w 1654"/>
                <a:gd name="T99" fmla="*/ 104 h 1653"/>
                <a:gd name="T100" fmla="*/ 527 w 1654"/>
                <a:gd name="T101" fmla="*/ 102 h 1653"/>
                <a:gd name="T102" fmla="*/ 1099 w 1654"/>
                <a:gd name="T103" fmla="*/ 44 h 1653"/>
                <a:gd name="T104" fmla="*/ 624 w 1654"/>
                <a:gd name="T105" fmla="*/ 24 h 1653"/>
                <a:gd name="T106" fmla="*/ 987 w 1654"/>
                <a:gd name="T107" fmla="*/ 59 h 1653"/>
                <a:gd name="T108" fmla="*/ 1008 w 1654"/>
                <a:gd name="T109" fmla="*/ 41 h 1653"/>
                <a:gd name="T110" fmla="*/ 775 w 1654"/>
                <a:gd name="T111" fmla="*/ 22 h 1653"/>
                <a:gd name="T112" fmla="*/ 861 w 1654"/>
                <a:gd name="T113" fmla="*/ 43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54" h="1653">
                  <a:moveTo>
                    <a:pt x="852" y="1653"/>
                  </a:moveTo>
                  <a:cubicBezTo>
                    <a:pt x="840" y="1653"/>
                    <a:pt x="830" y="1644"/>
                    <a:pt x="830" y="1632"/>
                  </a:cubicBezTo>
                  <a:cubicBezTo>
                    <a:pt x="830" y="1620"/>
                    <a:pt x="839" y="1610"/>
                    <a:pt x="851" y="1610"/>
                  </a:cubicBezTo>
                  <a:cubicBezTo>
                    <a:pt x="860" y="1609"/>
                    <a:pt x="860" y="1609"/>
                    <a:pt x="860" y="1609"/>
                  </a:cubicBezTo>
                  <a:cubicBezTo>
                    <a:pt x="872" y="1608"/>
                    <a:pt x="882" y="1618"/>
                    <a:pt x="882" y="1630"/>
                  </a:cubicBezTo>
                  <a:cubicBezTo>
                    <a:pt x="883" y="1642"/>
                    <a:pt x="873" y="1653"/>
                    <a:pt x="861" y="1653"/>
                  </a:cubicBezTo>
                  <a:cubicBezTo>
                    <a:pt x="852" y="1653"/>
                    <a:pt x="852" y="1653"/>
                    <a:pt x="852" y="1653"/>
                  </a:cubicBezTo>
                  <a:close/>
                  <a:moveTo>
                    <a:pt x="743" y="1649"/>
                  </a:moveTo>
                  <a:cubicBezTo>
                    <a:pt x="743" y="1649"/>
                    <a:pt x="742" y="1649"/>
                    <a:pt x="741" y="1649"/>
                  </a:cubicBezTo>
                  <a:cubicBezTo>
                    <a:pt x="732" y="1648"/>
                    <a:pt x="732" y="1648"/>
                    <a:pt x="732" y="1648"/>
                  </a:cubicBezTo>
                  <a:cubicBezTo>
                    <a:pt x="720" y="1647"/>
                    <a:pt x="712" y="1636"/>
                    <a:pt x="713" y="1624"/>
                  </a:cubicBezTo>
                  <a:cubicBezTo>
                    <a:pt x="714" y="1612"/>
                    <a:pt x="725" y="1604"/>
                    <a:pt x="737" y="1605"/>
                  </a:cubicBezTo>
                  <a:cubicBezTo>
                    <a:pt x="746" y="1606"/>
                    <a:pt x="746" y="1606"/>
                    <a:pt x="746" y="1606"/>
                  </a:cubicBezTo>
                  <a:cubicBezTo>
                    <a:pt x="758" y="1607"/>
                    <a:pt x="766" y="1618"/>
                    <a:pt x="765" y="1630"/>
                  </a:cubicBezTo>
                  <a:cubicBezTo>
                    <a:pt x="764" y="1641"/>
                    <a:pt x="754" y="1649"/>
                    <a:pt x="743" y="1649"/>
                  </a:cubicBezTo>
                  <a:close/>
                  <a:moveTo>
                    <a:pt x="968" y="1641"/>
                  </a:moveTo>
                  <a:cubicBezTo>
                    <a:pt x="958" y="1641"/>
                    <a:pt x="949" y="1634"/>
                    <a:pt x="947" y="1623"/>
                  </a:cubicBezTo>
                  <a:cubicBezTo>
                    <a:pt x="945" y="1611"/>
                    <a:pt x="953" y="1600"/>
                    <a:pt x="965" y="1598"/>
                  </a:cubicBezTo>
                  <a:cubicBezTo>
                    <a:pt x="972" y="1597"/>
                    <a:pt x="972" y="1597"/>
                    <a:pt x="972" y="1597"/>
                  </a:cubicBezTo>
                  <a:cubicBezTo>
                    <a:pt x="981" y="1640"/>
                    <a:pt x="981" y="1640"/>
                    <a:pt x="981" y="1640"/>
                  </a:cubicBezTo>
                  <a:cubicBezTo>
                    <a:pt x="972" y="1641"/>
                    <a:pt x="972" y="1641"/>
                    <a:pt x="972" y="1641"/>
                  </a:cubicBezTo>
                  <a:cubicBezTo>
                    <a:pt x="971" y="1641"/>
                    <a:pt x="970" y="1641"/>
                    <a:pt x="968" y="1641"/>
                  </a:cubicBezTo>
                  <a:close/>
                  <a:moveTo>
                    <a:pt x="628" y="1629"/>
                  </a:moveTo>
                  <a:cubicBezTo>
                    <a:pt x="626" y="1629"/>
                    <a:pt x="624" y="1629"/>
                    <a:pt x="623" y="1628"/>
                  </a:cubicBezTo>
                  <a:cubicBezTo>
                    <a:pt x="614" y="1626"/>
                    <a:pt x="614" y="1626"/>
                    <a:pt x="614" y="1626"/>
                  </a:cubicBezTo>
                  <a:cubicBezTo>
                    <a:pt x="602" y="1623"/>
                    <a:pt x="595" y="1611"/>
                    <a:pt x="598" y="1599"/>
                  </a:cubicBezTo>
                  <a:cubicBezTo>
                    <a:pt x="602" y="1587"/>
                    <a:pt x="614" y="1581"/>
                    <a:pt x="625" y="1584"/>
                  </a:cubicBezTo>
                  <a:cubicBezTo>
                    <a:pt x="633" y="1586"/>
                    <a:pt x="633" y="1586"/>
                    <a:pt x="633" y="1586"/>
                  </a:cubicBezTo>
                  <a:cubicBezTo>
                    <a:pt x="645" y="1589"/>
                    <a:pt x="652" y="1601"/>
                    <a:pt x="649" y="1612"/>
                  </a:cubicBezTo>
                  <a:cubicBezTo>
                    <a:pt x="647" y="1622"/>
                    <a:pt x="638" y="1629"/>
                    <a:pt x="628" y="1629"/>
                  </a:cubicBezTo>
                  <a:close/>
                  <a:moveTo>
                    <a:pt x="1082" y="1613"/>
                  </a:moveTo>
                  <a:cubicBezTo>
                    <a:pt x="1073" y="1613"/>
                    <a:pt x="1064" y="1607"/>
                    <a:pt x="1061" y="1598"/>
                  </a:cubicBezTo>
                  <a:cubicBezTo>
                    <a:pt x="1057" y="1586"/>
                    <a:pt x="1064" y="1574"/>
                    <a:pt x="1075" y="1570"/>
                  </a:cubicBezTo>
                  <a:cubicBezTo>
                    <a:pt x="1083" y="1567"/>
                    <a:pt x="1083" y="1567"/>
                    <a:pt x="1083" y="1567"/>
                  </a:cubicBezTo>
                  <a:cubicBezTo>
                    <a:pt x="1095" y="1563"/>
                    <a:pt x="1107" y="1569"/>
                    <a:pt x="1111" y="1581"/>
                  </a:cubicBezTo>
                  <a:cubicBezTo>
                    <a:pt x="1115" y="1592"/>
                    <a:pt x="1109" y="1605"/>
                    <a:pt x="1097" y="1609"/>
                  </a:cubicBezTo>
                  <a:cubicBezTo>
                    <a:pt x="1089" y="1612"/>
                    <a:pt x="1089" y="1612"/>
                    <a:pt x="1089" y="1612"/>
                  </a:cubicBezTo>
                  <a:cubicBezTo>
                    <a:pt x="1087" y="1612"/>
                    <a:pt x="1084" y="1613"/>
                    <a:pt x="1082" y="1613"/>
                  </a:cubicBezTo>
                  <a:close/>
                  <a:moveTo>
                    <a:pt x="517" y="1592"/>
                  </a:moveTo>
                  <a:cubicBezTo>
                    <a:pt x="514" y="1592"/>
                    <a:pt x="511" y="1591"/>
                    <a:pt x="508" y="1590"/>
                  </a:cubicBezTo>
                  <a:cubicBezTo>
                    <a:pt x="500" y="1587"/>
                    <a:pt x="500" y="1587"/>
                    <a:pt x="500" y="1587"/>
                  </a:cubicBezTo>
                  <a:cubicBezTo>
                    <a:pt x="489" y="1582"/>
                    <a:pt x="484" y="1569"/>
                    <a:pt x="489" y="1558"/>
                  </a:cubicBezTo>
                  <a:cubicBezTo>
                    <a:pt x="494" y="1547"/>
                    <a:pt x="506" y="1542"/>
                    <a:pt x="518" y="1546"/>
                  </a:cubicBezTo>
                  <a:cubicBezTo>
                    <a:pt x="525" y="1550"/>
                    <a:pt x="525" y="1550"/>
                    <a:pt x="525" y="1550"/>
                  </a:cubicBezTo>
                  <a:cubicBezTo>
                    <a:pt x="537" y="1554"/>
                    <a:pt x="542" y="1567"/>
                    <a:pt x="537" y="1578"/>
                  </a:cubicBezTo>
                  <a:cubicBezTo>
                    <a:pt x="534" y="1587"/>
                    <a:pt x="525" y="1592"/>
                    <a:pt x="517" y="1592"/>
                  </a:cubicBezTo>
                  <a:close/>
                  <a:moveTo>
                    <a:pt x="1190" y="1568"/>
                  </a:moveTo>
                  <a:cubicBezTo>
                    <a:pt x="1182" y="1568"/>
                    <a:pt x="1175" y="1563"/>
                    <a:pt x="1171" y="1556"/>
                  </a:cubicBezTo>
                  <a:cubicBezTo>
                    <a:pt x="1165" y="1545"/>
                    <a:pt x="1170" y="1532"/>
                    <a:pt x="1180" y="1526"/>
                  </a:cubicBezTo>
                  <a:cubicBezTo>
                    <a:pt x="1188" y="1522"/>
                    <a:pt x="1188" y="1522"/>
                    <a:pt x="1188" y="1522"/>
                  </a:cubicBezTo>
                  <a:cubicBezTo>
                    <a:pt x="1199" y="1517"/>
                    <a:pt x="1212" y="1521"/>
                    <a:pt x="1217" y="1532"/>
                  </a:cubicBezTo>
                  <a:cubicBezTo>
                    <a:pt x="1223" y="1542"/>
                    <a:pt x="1219" y="1556"/>
                    <a:pt x="1208" y="1561"/>
                  </a:cubicBezTo>
                  <a:cubicBezTo>
                    <a:pt x="1200" y="1565"/>
                    <a:pt x="1200" y="1565"/>
                    <a:pt x="1200" y="1565"/>
                  </a:cubicBezTo>
                  <a:cubicBezTo>
                    <a:pt x="1197" y="1567"/>
                    <a:pt x="1194" y="1568"/>
                    <a:pt x="1190" y="1568"/>
                  </a:cubicBezTo>
                  <a:close/>
                  <a:moveTo>
                    <a:pt x="412" y="1539"/>
                  </a:moveTo>
                  <a:cubicBezTo>
                    <a:pt x="409" y="1539"/>
                    <a:pt x="405" y="1538"/>
                    <a:pt x="401" y="1536"/>
                  </a:cubicBezTo>
                  <a:cubicBezTo>
                    <a:pt x="394" y="1531"/>
                    <a:pt x="394" y="1531"/>
                    <a:pt x="394" y="1531"/>
                  </a:cubicBezTo>
                  <a:cubicBezTo>
                    <a:pt x="383" y="1525"/>
                    <a:pt x="380" y="1511"/>
                    <a:pt x="386" y="1501"/>
                  </a:cubicBezTo>
                  <a:cubicBezTo>
                    <a:pt x="393" y="1491"/>
                    <a:pt x="406" y="1487"/>
                    <a:pt x="417" y="1494"/>
                  </a:cubicBezTo>
                  <a:cubicBezTo>
                    <a:pt x="424" y="1498"/>
                    <a:pt x="424" y="1498"/>
                    <a:pt x="424" y="1498"/>
                  </a:cubicBezTo>
                  <a:cubicBezTo>
                    <a:pt x="434" y="1504"/>
                    <a:pt x="437" y="1518"/>
                    <a:pt x="431" y="1528"/>
                  </a:cubicBezTo>
                  <a:cubicBezTo>
                    <a:pt x="427" y="1535"/>
                    <a:pt x="420" y="1539"/>
                    <a:pt x="412" y="1539"/>
                  </a:cubicBezTo>
                  <a:close/>
                  <a:moveTo>
                    <a:pt x="1291" y="1507"/>
                  </a:moveTo>
                  <a:cubicBezTo>
                    <a:pt x="1284" y="1507"/>
                    <a:pt x="1277" y="1504"/>
                    <a:pt x="1273" y="1498"/>
                  </a:cubicBezTo>
                  <a:cubicBezTo>
                    <a:pt x="1266" y="1488"/>
                    <a:pt x="1268" y="1474"/>
                    <a:pt x="1278" y="1467"/>
                  </a:cubicBezTo>
                  <a:cubicBezTo>
                    <a:pt x="1285" y="1463"/>
                    <a:pt x="1285" y="1463"/>
                    <a:pt x="1285" y="1463"/>
                  </a:cubicBezTo>
                  <a:cubicBezTo>
                    <a:pt x="1295" y="1455"/>
                    <a:pt x="1308" y="1458"/>
                    <a:pt x="1316" y="1467"/>
                  </a:cubicBezTo>
                  <a:cubicBezTo>
                    <a:pt x="1323" y="1477"/>
                    <a:pt x="1320" y="1491"/>
                    <a:pt x="1311" y="1498"/>
                  </a:cubicBezTo>
                  <a:cubicBezTo>
                    <a:pt x="1303" y="1503"/>
                    <a:pt x="1303" y="1503"/>
                    <a:pt x="1303" y="1503"/>
                  </a:cubicBezTo>
                  <a:cubicBezTo>
                    <a:pt x="1299" y="1506"/>
                    <a:pt x="1295" y="1507"/>
                    <a:pt x="1291" y="1507"/>
                  </a:cubicBezTo>
                  <a:close/>
                  <a:moveTo>
                    <a:pt x="317" y="1471"/>
                  </a:moveTo>
                  <a:cubicBezTo>
                    <a:pt x="312" y="1471"/>
                    <a:pt x="307" y="1470"/>
                    <a:pt x="303" y="1466"/>
                  </a:cubicBezTo>
                  <a:cubicBezTo>
                    <a:pt x="296" y="1461"/>
                    <a:pt x="296" y="1461"/>
                    <a:pt x="296" y="1461"/>
                  </a:cubicBezTo>
                  <a:cubicBezTo>
                    <a:pt x="287" y="1453"/>
                    <a:pt x="286" y="1439"/>
                    <a:pt x="293" y="1430"/>
                  </a:cubicBezTo>
                  <a:cubicBezTo>
                    <a:pt x="301" y="1421"/>
                    <a:pt x="315" y="1419"/>
                    <a:pt x="324" y="1427"/>
                  </a:cubicBezTo>
                  <a:cubicBezTo>
                    <a:pt x="331" y="1432"/>
                    <a:pt x="331" y="1432"/>
                    <a:pt x="331" y="1432"/>
                  </a:cubicBezTo>
                  <a:cubicBezTo>
                    <a:pt x="340" y="1440"/>
                    <a:pt x="341" y="1454"/>
                    <a:pt x="334" y="1463"/>
                  </a:cubicBezTo>
                  <a:cubicBezTo>
                    <a:pt x="329" y="1469"/>
                    <a:pt x="323" y="1471"/>
                    <a:pt x="317" y="1471"/>
                  </a:cubicBezTo>
                  <a:close/>
                  <a:moveTo>
                    <a:pt x="1381" y="1433"/>
                  </a:moveTo>
                  <a:cubicBezTo>
                    <a:pt x="1376" y="1433"/>
                    <a:pt x="1370" y="1431"/>
                    <a:pt x="1365" y="1426"/>
                  </a:cubicBezTo>
                  <a:cubicBezTo>
                    <a:pt x="1357" y="1417"/>
                    <a:pt x="1358" y="1403"/>
                    <a:pt x="1366" y="1395"/>
                  </a:cubicBezTo>
                  <a:cubicBezTo>
                    <a:pt x="1372" y="1389"/>
                    <a:pt x="1372" y="1389"/>
                    <a:pt x="1372" y="1389"/>
                  </a:cubicBezTo>
                  <a:cubicBezTo>
                    <a:pt x="1381" y="1381"/>
                    <a:pt x="1395" y="1381"/>
                    <a:pt x="1403" y="1390"/>
                  </a:cubicBezTo>
                  <a:cubicBezTo>
                    <a:pt x="1412" y="1398"/>
                    <a:pt x="1412" y="1412"/>
                    <a:pt x="1403" y="1421"/>
                  </a:cubicBezTo>
                  <a:cubicBezTo>
                    <a:pt x="1396" y="1427"/>
                    <a:pt x="1396" y="1427"/>
                    <a:pt x="1396" y="1427"/>
                  </a:cubicBezTo>
                  <a:cubicBezTo>
                    <a:pt x="1392" y="1431"/>
                    <a:pt x="1387" y="1433"/>
                    <a:pt x="1381" y="1433"/>
                  </a:cubicBezTo>
                  <a:close/>
                  <a:moveTo>
                    <a:pt x="232" y="1391"/>
                  </a:moveTo>
                  <a:cubicBezTo>
                    <a:pt x="226" y="1391"/>
                    <a:pt x="220" y="1388"/>
                    <a:pt x="216" y="1384"/>
                  </a:cubicBezTo>
                  <a:cubicBezTo>
                    <a:pt x="210" y="1377"/>
                    <a:pt x="210" y="1377"/>
                    <a:pt x="210" y="1377"/>
                  </a:cubicBezTo>
                  <a:cubicBezTo>
                    <a:pt x="202" y="1368"/>
                    <a:pt x="202" y="1354"/>
                    <a:pt x="211" y="1346"/>
                  </a:cubicBezTo>
                  <a:cubicBezTo>
                    <a:pt x="220" y="1338"/>
                    <a:pt x="234" y="1339"/>
                    <a:pt x="242" y="1348"/>
                  </a:cubicBezTo>
                  <a:cubicBezTo>
                    <a:pt x="248" y="1354"/>
                    <a:pt x="248" y="1354"/>
                    <a:pt x="248" y="1354"/>
                  </a:cubicBezTo>
                  <a:cubicBezTo>
                    <a:pt x="256" y="1363"/>
                    <a:pt x="255" y="1377"/>
                    <a:pt x="247" y="1385"/>
                  </a:cubicBezTo>
                  <a:cubicBezTo>
                    <a:pt x="242" y="1389"/>
                    <a:pt x="237" y="1391"/>
                    <a:pt x="232" y="1391"/>
                  </a:cubicBezTo>
                  <a:close/>
                  <a:moveTo>
                    <a:pt x="1460" y="1346"/>
                  </a:moveTo>
                  <a:cubicBezTo>
                    <a:pt x="1456" y="1346"/>
                    <a:pt x="1451" y="1345"/>
                    <a:pt x="1447" y="1342"/>
                  </a:cubicBezTo>
                  <a:cubicBezTo>
                    <a:pt x="1437" y="1334"/>
                    <a:pt x="1436" y="1320"/>
                    <a:pt x="1443" y="1311"/>
                  </a:cubicBezTo>
                  <a:cubicBezTo>
                    <a:pt x="1448" y="1304"/>
                    <a:pt x="1448" y="1304"/>
                    <a:pt x="1448" y="1304"/>
                  </a:cubicBezTo>
                  <a:cubicBezTo>
                    <a:pt x="1456" y="1295"/>
                    <a:pt x="1470" y="1293"/>
                    <a:pt x="1479" y="1300"/>
                  </a:cubicBezTo>
                  <a:cubicBezTo>
                    <a:pt x="1489" y="1308"/>
                    <a:pt x="1490" y="1321"/>
                    <a:pt x="1483" y="1331"/>
                  </a:cubicBezTo>
                  <a:cubicBezTo>
                    <a:pt x="1478" y="1338"/>
                    <a:pt x="1478" y="1338"/>
                    <a:pt x="1478" y="1338"/>
                  </a:cubicBezTo>
                  <a:cubicBezTo>
                    <a:pt x="1473" y="1344"/>
                    <a:pt x="1467" y="1346"/>
                    <a:pt x="1460" y="1346"/>
                  </a:cubicBezTo>
                  <a:close/>
                  <a:moveTo>
                    <a:pt x="159" y="1299"/>
                  </a:moveTo>
                  <a:cubicBezTo>
                    <a:pt x="152" y="1299"/>
                    <a:pt x="145" y="1295"/>
                    <a:pt x="141" y="1289"/>
                  </a:cubicBezTo>
                  <a:cubicBezTo>
                    <a:pt x="136" y="1282"/>
                    <a:pt x="136" y="1282"/>
                    <a:pt x="136" y="1282"/>
                  </a:cubicBezTo>
                  <a:cubicBezTo>
                    <a:pt x="130" y="1271"/>
                    <a:pt x="132" y="1258"/>
                    <a:pt x="142" y="1251"/>
                  </a:cubicBezTo>
                  <a:cubicBezTo>
                    <a:pt x="153" y="1245"/>
                    <a:pt x="166" y="1247"/>
                    <a:pt x="173" y="1257"/>
                  </a:cubicBezTo>
                  <a:cubicBezTo>
                    <a:pt x="177" y="1264"/>
                    <a:pt x="177" y="1264"/>
                    <a:pt x="177" y="1264"/>
                  </a:cubicBezTo>
                  <a:cubicBezTo>
                    <a:pt x="184" y="1274"/>
                    <a:pt x="182" y="1288"/>
                    <a:pt x="172" y="1295"/>
                  </a:cubicBezTo>
                  <a:cubicBezTo>
                    <a:pt x="168" y="1297"/>
                    <a:pt x="164" y="1299"/>
                    <a:pt x="159" y="1299"/>
                  </a:cubicBezTo>
                  <a:close/>
                  <a:moveTo>
                    <a:pt x="1526" y="1249"/>
                  </a:moveTo>
                  <a:cubicBezTo>
                    <a:pt x="1522" y="1249"/>
                    <a:pt x="1518" y="1248"/>
                    <a:pt x="1515" y="1246"/>
                  </a:cubicBezTo>
                  <a:cubicBezTo>
                    <a:pt x="1505" y="1240"/>
                    <a:pt x="1501" y="1227"/>
                    <a:pt x="1507" y="1217"/>
                  </a:cubicBezTo>
                  <a:cubicBezTo>
                    <a:pt x="1511" y="1209"/>
                    <a:pt x="1511" y="1209"/>
                    <a:pt x="1511" y="1209"/>
                  </a:cubicBezTo>
                  <a:cubicBezTo>
                    <a:pt x="1517" y="1199"/>
                    <a:pt x="1530" y="1195"/>
                    <a:pt x="1541" y="1201"/>
                  </a:cubicBezTo>
                  <a:cubicBezTo>
                    <a:pt x="1552" y="1207"/>
                    <a:pt x="1555" y="1220"/>
                    <a:pt x="1549" y="1231"/>
                  </a:cubicBezTo>
                  <a:cubicBezTo>
                    <a:pt x="1545" y="1238"/>
                    <a:pt x="1545" y="1238"/>
                    <a:pt x="1545" y="1238"/>
                  </a:cubicBezTo>
                  <a:cubicBezTo>
                    <a:pt x="1541" y="1245"/>
                    <a:pt x="1534" y="1249"/>
                    <a:pt x="1526" y="1249"/>
                  </a:cubicBezTo>
                  <a:close/>
                  <a:moveTo>
                    <a:pt x="101" y="1197"/>
                  </a:moveTo>
                  <a:cubicBezTo>
                    <a:pt x="93" y="1197"/>
                    <a:pt x="85" y="1192"/>
                    <a:pt x="81" y="1185"/>
                  </a:cubicBezTo>
                  <a:cubicBezTo>
                    <a:pt x="77" y="1176"/>
                    <a:pt x="77" y="1176"/>
                    <a:pt x="77" y="1176"/>
                  </a:cubicBezTo>
                  <a:cubicBezTo>
                    <a:pt x="72" y="1165"/>
                    <a:pt x="77" y="1152"/>
                    <a:pt x="88" y="1147"/>
                  </a:cubicBezTo>
                  <a:cubicBezTo>
                    <a:pt x="99" y="1142"/>
                    <a:pt x="112" y="1147"/>
                    <a:pt x="117" y="1158"/>
                  </a:cubicBezTo>
                  <a:cubicBezTo>
                    <a:pt x="121" y="1165"/>
                    <a:pt x="121" y="1165"/>
                    <a:pt x="121" y="1165"/>
                  </a:cubicBezTo>
                  <a:cubicBezTo>
                    <a:pt x="126" y="1176"/>
                    <a:pt x="121" y="1189"/>
                    <a:pt x="110" y="1195"/>
                  </a:cubicBezTo>
                  <a:cubicBezTo>
                    <a:pt x="107" y="1196"/>
                    <a:pt x="104" y="1197"/>
                    <a:pt x="101" y="1197"/>
                  </a:cubicBezTo>
                  <a:close/>
                  <a:moveTo>
                    <a:pt x="1577" y="1144"/>
                  </a:moveTo>
                  <a:cubicBezTo>
                    <a:pt x="1574" y="1144"/>
                    <a:pt x="1571" y="1143"/>
                    <a:pt x="1569" y="1142"/>
                  </a:cubicBezTo>
                  <a:cubicBezTo>
                    <a:pt x="1558" y="1138"/>
                    <a:pt x="1552" y="1125"/>
                    <a:pt x="1556" y="1114"/>
                  </a:cubicBezTo>
                  <a:cubicBezTo>
                    <a:pt x="1560" y="1106"/>
                    <a:pt x="1560" y="1106"/>
                    <a:pt x="1560" y="1106"/>
                  </a:cubicBezTo>
                  <a:cubicBezTo>
                    <a:pt x="1564" y="1095"/>
                    <a:pt x="1577" y="1089"/>
                    <a:pt x="1588" y="1093"/>
                  </a:cubicBezTo>
                  <a:cubicBezTo>
                    <a:pt x="1599" y="1098"/>
                    <a:pt x="1605" y="1110"/>
                    <a:pt x="1600" y="1122"/>
                  </a:cubicBezTo>
                  <a:cubicBezTo>
                    <a:pt x="1597" y="1130"/>
                    <a:pt x="1597" y="1130"/>
                    <a:pt x="1597" y="1130"/>
                  </a:cubicBezTo>
                  <a:cubicBezTo>
                    <a:pt x="1594" y="1139"/>
                    <a:pt x="1586" y="1144"/>
                    <a:pt x="1577" y="1144"/>
                  </a:cubicBezTo>
                  <a:close/>
                  <a:moveTo>
                    <a:pt x="58" y="1088"/>
                  </a:moveTo>
                  <a:cubicBezTo>
                    <a:pt x="49" y="1088"/>
                    <a:pt x="40" y="1082"/>
                    <a:pt x="37" y="1072"/>
                  </a:cubicBezTo>
                  <a:cubicBezTo>
                    <a:pt x="34" y="1064"/>
                    <a:pt x="34" y="1064"/>
                    <a:pt x="34" y="1064"/>
                  </a:cubicBezTo>
                  <a:cubicBezTo>
                    <a:pt x="31" y="1052"/>
                    <a:pt x="38" y="1040"/>
                    <a:pt x="49" y="1037"/>
                  </a:cubicBezTo>
                  <a:cubicBezTo>
                    <a:pt x="61" y="1033"/>
                    <a:pt x="73" y="1040"/>
                    <a:pt x="76" y="1051"/>
                  </a:cubicBezTo>
                  <a:cubicBezTo>
                    <a:pt x="79" y="1059"/>
                    <a:pt x="79" y="1059"/>
                    <a:pt x="79" y="1059"/>
                  </a:cubicBezTo>
                  <a:cubicBezTo>
                    <a:pt x="82" y="1071"/>
                    <a:pt x="76" y="1083"/>
                    <a:pt x="64" y="1087"/>
                  </a:cubicBezTo>
                  <a:cubicBezTo>
                    <a:pt x="62" y="1087"/>
                    <a:pt x="60" y="1088"/>
                    <a:pt x="58" y="1088"/>
                  </a:cubicBezTo>
                  <a:close/>
                  <a:moveTo>
                    <a:pt x="1612" y="1032"/>
                  </a:moveTo>
                  <a:cubicBezTo>
                    <a:pt x="1610" y="1032"/>
                    <a:pt x="1608" y="1032"/>
                    <a:pt x="1607" y="1031"/>
                  </a:cubicBezTo>
                  <a:cubicBezTo>
                    <a:pt x="1595" y="1029"/>
                    <a:pt x="1588" y="1017"/>
                    <a:pt x="1590" y="1005"/>
                  </a:cubicBezTo>
                  <a:cubicBezTo>
                    <a:pt x="1592" y="997"/>
                    <a:pt x="1592" y="997"/>
                    <a:pt x="1592" y="997"/>
                  </a:cubicBezTo>
                  <a:cubicBezTo>
                    <a:pt x="1595" y="985"/>
                    <a:pt x="1607" y="978"/>
                    <a:pt x="1618" y="980"/>
                  </a:cubicBezTo>
                  <a:cubicBezTo>
                    <a:pt x="1630" y="983"/>
                    <a:pt x="1638" y="995"/>
                    <a:pt x="1635" y="1006"/>
                  </a:cubicBezTo>
                  <a:cubicBezTo>
                    <a:pt x="1633" y="1015"/>
                    <a:pt x="1633" y="1015"/>
                    <a:pt x="1633" y="1015"/>
                  </a:cubicBezTo>
                  <a:cubicBezTo>
                    <a:pt x="1631" y="1025"/>
                    <a:pt x="1622" y="1032"/>
                    <a:pt x="1612" y="1032"/>
                  </a:cubicBezTo>
                  <a:close/>
                  <a:moveTo>
                    <a:pt x="31" y="974"/>
                  </a:moveTo>
                  <a:cubicBezTo>
                    <a:pt x="21" y="974"/>
                    <a:pt x="12" y="966"/>
                    <a:pt x="10" y="955"/>
                  </a:cubicBezTo>
                  <a:cubicBezTo>
                    <a:pt x="9" y="946"/>
                    <a:pt x="9" y="946"/>
                    <a:pt x="9" y="946"/>
                  </a:cubicBezTo>
                  <a:cubicBezTo>
                    <a:pt x="7" y="934"/>
                    <a:pt x="15" y="923"/>
                    <a:pt x="27" y="922"/>
                  </a:cubicBezTo>
                  <a:cubicBezTo>
                    <a:pt x="39" y="920"/>
                    <a:pt x="50" y="928"/>
                    <a:pt x="52" y="940"/>
                  </a:cubicBezTo>
                  <a:cubicBezTo>
                    <a:pt x="53" y="948"/>
                    <a:pt x="53" y="948"/>
                    <a:pt x="53" y="948"/>
                  </a:cubicBezTo>
                  <a:cubicBezTo>
                    <a:pt x="55" y="960"/>
                    <a:pt x="47" y="972"/>
                    <a:pt x="35" y="973"/>
                  </a:cubicBezTo>
                  <a:cubicBezTo>
                    <a:pt x="34" y="974"/>
                    <a:pt x="33" y="974"/>
                    <a:pt x="31" y="974"/>
                  </a:cubicBezTo>
                  <a:close/>
                  <a:moveTo>
                    <a:pt x="1630" y="916"/>
                  </a:moveTo>
                  <a:cubicBezTo>
                    <a:pt x="1629" y="916"/>
                    <a:pt x="1629" y="916"/>
                    <a:pt x="1628" y="916"/>
                  </a:cubicBezTo>
                  <a:cubicBezTo>
                    <a:pt x="1616" y="915"/>
                    <a:pt x="1607" y="905"/>
                    <a:pt x="1608" y="893"/>
                  </a:cubicBezTo>
                  <a:cubicBezTo>
                    <a:pt x="1609" y="884"/>
                    <a:pt x="1609" y="884"/>
                    <a:pt x="1609" y="884"/>
                  </a:cubicBezTo>
                  <a:cubicBezTo>
                    <a:pt x="1610" y="872"/>
                    <a:pt x="1620" y="863"/>
                    <a:pt x="1632" y="864"/>
                  </a:cubicBezTo>
                  <a:cubicBezTo>
                    <a:pt x="1644" y="865"/>
                    <a:pt x="1653" y="875"/>
                    <a:pt x="1652" y="887"/>
                  </a:cubicBezTo>
                  <a:cubicBezTo>
                    <a:pt x="1652" y="896"/>
                    <a:pt x="1652" y="896"/>
                    <a:pt x="1652" y="896"/>
                  </a:cubicBezTo>
                  <a:cubicBezTo>
                    <a:pt x="1651" y="908"/>
                    <a:pt x="1641" y="916"/>
                    <a:pt x="1630" y="916"/>
                  </a:cubicBezTo>
                  <a:close/>
                  <a:moveTo>
                    <a:pt x="22" y="857"/>
                  </a:moveTo>
                  <a:cubicBezTo>
                    <a:pt x="10" y="857"/>
                    <a:pt x="0" y="847"/>
                    <a:pt x="0" y="835"/>
                  </a:cubicBezTo>
                  <a:cubicBezTo>
                    <a:pt x="0" y="826"/>
                    <a:pt x="0" y="826"/>
                    <a:pt x="0" y="826"/>
                  </a:cubicBezTo>
                  <a:cubicBezTo>
                    <a:pt x="0" y="825"/>
                    <a:pt x="0" y="823"/>
                    <a:pt x="0" y="821"/>
                  </a:cubicBezTo>
                  <a:cubicBezTo>
                    <a:pt x="0" y="819"/>
                    <a:pt x="0" y="818"/>
                    <a:pt x="0" y="816"/>
                  </a:cubicBezTo>
                  <a:cubicBezTo>
                    <a:pt x="0" y="807"/>
                    <a:pt x="0" y="807"/>
                    <a:pt x="0" y="807"/>
                  </a:cubicBezTo>
                  <a:cubicBezTo>
                    <a:pt x="0" y="795"/>
                    <a:pt x="11" y="785"/>
                    <a:pt x="22" y="786"/>
                  </a:cubicBezTo>
                  <a:cubicBezTo>
                    <a:pt x="35" y="786"/>
                    <a:pt x="44" y="796"/>
                    <a:pt x="44" y="808"/>
                  </a:cubicBezTo>
                  <a:cubicBezTo>
                    <a:pt x="44" y="817"/>
                    <a:pt x="44" y="817"/>
                    <a:pt x="44" y="817"/>
                  </a:cubicBezTo>
                  <a:cubicBezTo>
                    <a:pt x="44" y="818"/>
                    <a:pt x="43" y="820"/>
                    <a:pt x="43" y="821"/>
                  </a:cubicBezTo>
                  <a:cubicBezTo>
                    <a:pt x="43" y="823"/>
                    <a:pt x="44" y="825"/>
                    <a:pt x="44" y="826"/>
                  </a:cubicBezTo>
                  <a:cubicBezTo>
                    <a:pt x="44" y="835"/>
                    <a:pt x="44" y="835"/>
                    <a:pt x="44" y="835"/>
                  </a:cubicBezTo>
                  <a:cubicBezTo>
                    <a:pt x="44" y="847"/>
                    <a:pt x="34" y="857"/>
                    <a:pt x="22" y="857"/>
                  </a:cubicBezTo>
                  <a:close/>
                  <a:moveTo>
                    <a:pt x="1631" y="799"/>
                  </a:moveTo>
                  <a:cubicBezTo>
                    <a:pt x="1620" y="799"/>
                    <a:pt x="1610" y="790"/>
                    <a:pt x="1609" y="779"/>
                  </a:cubicBezTo>
                  <a:cubicBezTo>
                    <a:pt x="1609" y="770"/>
                    <a:pt x="1609" y="770"/>
                    <a:pt x="1609" y="770"/>
                  </a:cubicBezTo>
                  <a:cubicBezTo>
                    <a:pt x="1608" y="758"/>
                    <a:pt x="1617" y="748"/>
                    <a:pt x="1629" y="747"/>
                  </a:cubicBezTo>
                  <a:cubicBezTo>
                    <a:pt x="1641" y="746"/>
                    <a:pt x="1652" y="755"/>
                    <a:pt x="1653" y="767"/>
                  </a:cubicBezTo>
                  <a:cubicBezTo>
                    <a:pt x="1653" y="776"/>
                    <a:pt x="1653" y="776"/>
                    <a:pt x="1653" y="776"/>
                  </a:cubicBezTo>
                  <a:cubicBezTo>
                    <a:pt x="1654" y="788"/>
                    <a:pt x="1645" y="798"/>
                    <a:pt x="1633" y="799"/>
                  </a:cubicBezTo>
                  <a:cubicBezTo>
                    <a:pt x="1632" y="799"/>
                    <a:pt x="1632" y="799"/>
                    <a:pt x="1631" y="799"/>
                  </a:cubicBezTo>
                  <a:close/>
                  <a:moveTo>
                    <a:pt x="32" y="721"/>
                  </a:moveTo>
                  <a:cubicBezTo>
                    <a:pt x="31" y="721"/>
                    <a:pt x="29" y="721"/>
                    <a:pt x="28" y="721"/>
                  </a:cubicBezTo>
                  <a:cubicBezTo>
                    <a:pt x="16" y="719"/>
                    <a:pt x="8" y="708"/>
                    <a:pt x="10" y="696"/>
                  </a:cubicBezTo>
                  <a:cubicBezTo>
                    <a:pt x="12" y="687"/>
                    <a:pt x="12" y="687"/>
                    <a:pt x="12" y="687"/>
                  </a:cubicBezTo>
                  <a:cubicBezTo>
                    <a:pt x="14" y="675"/>
                    <a:pt x="25" y="667"/>
                    <a:pt x="37" y="669"/>
                  </a:cubicBezTo>
                  <a:cubicBezTo>
                    <a:pt x="49" y="671"/>
                    <a:pt x="57" y="683"/>
                    <a:pt x="55" y="694"/>
                  </a:cubicBezTo>
                  <a:cubicBezTo>
                    <a:pt x="53" y="703"/>
                    <a:pt x="53" y="703"/>
                    <a:pt x="53" y="703"/>
                  </a:cubicBezTo>
                  <a:cubicBezTo>
                    <a:pt x="52" y="714"/>
                    <a:pt x="42" y="721"/>
                    <a:pt x="32" y="721"/>
                  </a:cubicBezTo>
                  <a:close/>
                  <a:moveTo>
                    <a:pt x="1616" y="683"/>
                  </a:moveTo>
                  <a:cubicBezTo>
                    <a:pt x="1606" y="683"/>
                    <a:pt x="1597" y="676"/>
                    <a:pt x="1594" y="666"/>
                  </a:cubicBezTo>
                  <a:cubicBezTo>
                    <a:pt x="1593" y="657"/>
                    <a:pt x="1593" y="657"/>
                    <a:pt x="1593" y="657"/>
                  </a:cubicBezTo>
                  <a:cubicBezTo>
                    <a:pt x="1590" y="645"/>
                    <a:pt x="1598" y="634"/>
                    <a:pt x="1609" y="631"/>
                  </a:cubicBezTo>
                  <a:cubicBezTo>
                    <a:pt x="1621" y="629"/>
                    <a:pt x="1633" y="636"/>
                    <a:pt x="1635" y="648"/>
                  </a:cubicBezTo>
                  <a:cubicBezTo>
                    <a:pt x="1637" y="657"/>
                    <a:pt x="1637" y="657"/>
                    <a:pt x="1637" y="657"/>
                  </a:cubicBezTo>
                  <a:cubicBezTo>
                    <a:pt x="1640" y="668"/>
                    <a:pt x="1632" y="680"/>
                    <a:pt x="1620" y="683"/>
                  </a:cubicBezTo>
                  <a:cubicBezTo>
                    <a:pt x="1619" y="683"/>
                    <a:pt x="1617" y="683"/>
                    <a:pt x="1616" y="683"/>
                  </a:cubicBezTo>
                  <a:close/>
                  <a:moveTo>
                    <a:pt x="58" y="607"/>
                  </a:moveTo>
                  <a:cubicBezTo>
                    <a:pt x="56" y="607"/>
                    <a:pt x="54" y="607"/>
                    <a:pt x="52" y="606"/>
                  </a:cubicBezTo>
                  <a:cubicBezTo>
                    <a:pt x="40" y="603"/>
                    <a:pt x="34" y="590"/>
                    <a:pt x="38" y="579"/>
                  </a:cubicBezTo>
                  <a:cubicBezTo>
                    <a:pt x="40" y="570"/>
                    <a:pt x="40" y="570"/>
                    <a:pt x="40" y="570"/>
                  </a:cubicBezTo>
                  <a:cubicBezTo>
                    <a:pt x="44" y="559"/>
                    <a:pt x="56" y="553"/>
                    <a:pt x="68" y="556"/>
                  </a:cubicBezTo>
                  <a:cubicBezTo>
                    <a:pt x="79" y="560"/>
                    <a:pt x="86" y="572"/>
                    <a:pt x="82" y="584"/>
                  </a:cubicBezTo>
                  <a:cubicBezTo>
                    <a:pt x="79" y="592"/>
                    <a:pt x="79" y="592"/>
                    <a:pt x="79" y="592"/>
                  </a:cubicBezTo>
                  <a:cubicBezTo>
                    <a:pt x="76" y="601"/>
                    <a:pt x="68" y="607"/>
                    <a:pt x="58" y="607"/>
                  </a:cubicBezTo>
                  <a:close/>
                  <a:moveTo>
                    <a:pt x="1584" y="570"/>
                  </a:moveTo>
                  <a:cubicBezTo>
                    <a:pt x="1575" y="570"/>
                    <a:pt x="1566" y="565"/>
                    <a:pt x="1563" y="556"/>
                  </a:cubicBezTo>
                  <a:cubicBezTo>
                    <a:pt x="1560" y="548"/>
                    <a:pt x="1560" y="548"/>
                    <a:pt x="1560" y="548"/>
                  </a:cubicBezTo>
                  <a:cubicBezTo>
                    <a:pt x="1556" y="537"/>
                    <a:pt x="1561" y="524"/>
                    <a:pt x="1573" y="520"/>
                  </a:cubicBezTo>
                  <a:cubicBezTo>
                    <a:pt x="1584" y="515"/>
                    <a:pt x="1597" y="521"/>
                    <a:pt x="1601" y="532"/>
                  </a:cubicBezTo>
                  <a:cubicBezTo>
                    <a:pt x="1604" y="541"/>
                    <a:pt x="1604" y="541"/>
                    <a:pt x="1604" y="541"/>
                  </a:cubicBezTo>
                  <a:cubicBezTo>
                    <a:pt x="1608" y="552"/>
                    <a:pt x="1603" y="565"/>
                    <a:pt x="1591" y="569"/>
                  </a:cubicBezTo>
                  <a:cubicBezTo>
                    <a:pt x="1589" y="570"/>
                    <a:pt x="1586" y="570"/>
                    <a:pt x="1584" y="570"/>
                  </a:cubicBezTo>
                  <a:close/>
                  <a:moveTo>
                    <a:pt x="102" y="498"/>
                  </a:moveTo>
                  <a:cubicBezTo>
                    <a:pt x="98" y="498"/>
                    <a:pt x="95" y="498"/>
                    <a:pt x="92" y="496"/>
                  </a:cubicBezTo>
                  <a:cubicBezTo>
                    <a:pt x="81" y="491"/>
                    <a:pt x="77" y="478"/>
                    <a:pt x="82" y="467"/>
                  </a:cubicBezTo>
                  <a:cubicBezTo>
                    <a:pt x="86" y="459"/>
                    <a:pt x="86" y="459"/>
                    <a:pt x="86" y="459"/>
                  </a:cubicBezTo>
                  <a:cubicBezTo>
                    <a:pt x="91" y="448"/>
                    <a:pt x="104" y="444"/>
                    <a:pt x="115" y="449"/>
                  </a:cubicBezTo>
                  <a:cubicBezTo>
                    <a:pt x="126" y="454"/>
                    <a:pt x="130" y="468"/>
                    <a:pt x="125" y="478"/>
                  </a:cubicBezTo>
                  <a:cubicBezTo>
                    <a:pt x="121" y="486"/>
                    <a:pt x="121" y="486"/>
                    <a:pt x="121" y="486"/>
                  </a:cubicBezTo>
                  <a:cubicBezTo>
                    <a:pt x="117" y="494"/>
                    <a:pt x="110" y="498"/>
                    <a:pt x="102" y="498"/>
                  </a:cubicBezTo>
                  <a:close/>
                  <a:moveTo>
                    <a:pt x="1535" y="463"/>
                  </a:moveTo>
                  <a:cubicBezTo>
                    <a:pt x="1527" y="463"/>
                    <a:pt x="1520" y="459"/>
                    <a:pt x="1516" y="452"/>
                  </a:cubicBezTo>
                  <a:cubicBezTo>
                    <a:pt x="1512" y="445"/>
                    <a:pt x="1512" y="445"/>
                    <a:pt x="1512" y="445"/>
                  </a:cubicBezTo>
                  <a:cubicBezTo>
                    <a:pt x="1506" y="434"/>
                    <a:pt x="1510" y="421"/>
                    <a:pt x="1520" y="415"/>
                  </a:cubicBezTo>
                  <a:cubicBezTo>
                    <a:pt x="1531" y="409"/>
                    <a:pt x="1544" y="413"/>
                    <a:pt x="1550" y="423"/>
                  </a:cubicBezTo>
                  <a:cubicBezTo>
                    <a:pt x="1554" y="431"/>
                    <a:pt x="1554" y="431"/>
                    <a:pt x="1554" y="431"/>
                  </a:cubicBezTo>
                  <a:cubicBezTo>
                    <a:pt x="1560" y="442"/>
                    <a:pt x="1556" y="455"/>
                    <a:pt x="1546" y="461"/>
                  </a:cubicBezTo>
                  <a:cubicBezTo>
                    <a:pt x="1542" y="463"/>
                    <a:pt x="1539" y="463"/>
                    <a:pt x="1535" y="463"/>
                  </a:cubicBezTo>
                  <a:close/>
                  <a:moveTo>
                    <a:pt x="160" y="397"/>
                  </a:moveTo>
                  <a:cubicBezTo>
                    <a:pt x="156" y="397"/>
                    <a:pt x="151" y="396"/>
                    <a:pt x="148" y="393"/>
                  </a:cubicBezTo>
                  <a:cubicBezTo>
                    <a:pt x="138" y="386"/>
                    <a:pt x="135" y="373"/>
                    <a:pt x="142" y="363"/>
                  </a:cubicBezTo>
                  <a:cubicBezTo>
                    <a:pt x="147" y="355"/>
                    <a:pt x="147" y="355"/>
                    <a:pt x="147" y="355"/>
                  </a:cubicBezTo>
                  <a:cubicBezTo>
                    <a:pt x="154" y="345"/>
                    <a:pt x="167" y="343"/>
                    <a:pt x="177" y="350"/>
                  </a:cubicBezTo>
                  <a:cubicBezTo>
                    <a:pt x="187" y="357"/>
                    <a:pt x="190" y="370"/>
                    <a:pt x="183" y="380"/>
                  </a:cubicBezTo>
                  <a:cubicBezTo>
                    <a:pt x="178" y="387"/>
                    <a:pt x="178" y="387"/>
                    <a:pt x="178" y="387"/>
                  </a:cubicBezTo>
                  <a:cubicBezTo>
                    <a:pt x="174" y="393"/>
                    <a:pt x="167" y="397"/>
                    <a:pt x="160" y="397"/>
                  </a:cubicBezTo>
                  <a:close/>
                  <a:moveTo>
                    <a:pt x="1472" y="365"/>
                  </a:moveTo>
                  <a:cubicBezTo>
                    <a:pt x="1465" y="365"/>
                    <a:pt x="1459" y="362"/>
                    <a:pt x="1454" y="356"/>
                  </a:cubicBezTo>
                  <a:cubicBezTo>
                    <a:pt x="1449" y="349"/>
                    <a:pt x="1449" y="349"/>
                    <a:pt x="1449" y="349"/>
                  </a:cubicBezTo>
                  <a:cubicBezTo>
                    <a:pt x="1442" y="340"/>
                    <a:pt x="1444" y="326"/>
                    <a:pt x="1453" y="319"/>
                  </a:cubicBezTo>
                  <a:cubicBezTo>
                    <a:pt x="1463" y="311"/>
                    <a:pt x="1477" y="313"/>
                    <a:pt x="1484" y="323"/>
                  </a:cubicBezTo>
                  <a:cubicBezTo>
                    <a:pt x="1489" y="330"/>
                    <a:pt x="1489" y="330"/>
                    <a:pt x="1489" y="330"/>
                  </a:cubicBezTo>
                  <a:cubicBezTo>
                    <a:pt x="1497" y="339"/>
                    <a:pt x="1495" y="353"/>
                    <a:pt x="1485" y="360"/>
                  </a:cubicBezTo>
                  <a:cubicBezTo>
                    <a:pt x="1481" y="363"/>
                    <a:pt x="1476" y="365"/>
                    <a:pt x="1472" y="365"/>
                  </a:cubicBezTo>
                  <a:close/>
                  <a:moveTo>
                    <a:pt x="233" y="305"/>
                  </a:moveTo>
                  <a:cubicBezTo>
                    <a:pt x="227" y="305"/>
                    <a:pt x="222" y="303"/>
                    <a:pt x="218" y="299"/>
                  </a:cubicBezTo>
                  <a:cubicBezTo>
                    <a:pt x="209" y="291"/>
                    <a:pt x="208" y="277"/>
                    <a:pt x="216" y="268"/>
                  </a:cubicBezTo>
                  <a:cubicBezTo>
                    <a:pt x="222" y="262"/>
                    <a:pt x="222" y="262"/>
                    <a:pt x="222" y="262"/>
                  </a:cubicBezTo>
                  <a:cubicBezTo>
                    <a:pt x="231" y="253"/>
                    <a:pt x="245" y="252"/>
                    <a:pt x="253" y="261"/>
                  </a:cubicBezTo>
                  <a:cubicBezTo>
                    <a:pt x="262" y="269"/>
                    <a:pt x="263" y="283"/>
                    <a:pt x="254" y="292"/>
                  </a:cubicBezTo>
                  <a:cubicBezTo>
                    <a:pt x="249" y="298"/>
                    <a:pt x="249" y="298"/>
                    <a:pt x="249" y="298"/>
                  </a:cubicBezTo>
                  <a:cubicBezTo>
                    <a:pt x="244" y="302"/>
                    <a:pt x="238" y="305"/>
                    <a:pt x="233" y="305"/>
                  </a:cubicBezTo>
                  <a:close/>
                  <a:moveTo>
                    <a:pt x="1395" y="277"/>
                  </a:moveTo>
                  <a:cubicBezTo>
                    <a:pt x="1389" y="277"/>
                    <a:pt x="1384" y="274"/>
                    <a:pt x="1379" y="270"/>
                  </a:cubicBezTo>
                  <a:cubicBezTo>
                    <a:pt x="1373" y="264"/>
                    <a:pt x="1373" y="264"/>
                    <a:pt x="1373" y="264"/>
                  </a:cubicBezTo>
                  <a:cubicBezTo>
                    <a:pt x="1365" y="256"/>
                    <a:pt x="1364" y="242"/>
                    <a:pt x="1373" y="233"/>
                  </a:cubicBezTo>
                  <a:cubicBezTo>
                    <a:pt x="1381" y="225"/>
                    <a:pt x="1395" y="224"/>
                    <a:pt x="1404" y="233"/>
                  </a:cubicBezTo>
                  <a:cubicBezTo>
                    <a:pt x="1410" y="239"/>
                    <a:pt x="1410" y="239"/>
                    <a:pt x="1410" y="239"/>
                  </a:cubicBezTo>
                  <a:cubicBezTo>
                    <a:pt x="1419" y="248"/>
                    <a:pt x="1419" y="261"/>
                    <a:pt x="1410" y="270"/>
                  </a:cubicBezTo>
                  <a:cubicBezTo>
                    <a:pt x="1406" y="274"/>
                    <a:pt x="1400" y="277"/>
                    <a:pt x="1395" y="277"/>
                  </a:cubicBezTo>
                  <a:close/>
                  <a:moveTo>
                    <a:pt x="318" y="224"/>
                  </a:moveTo>
                  <a:cubicBezTo>
                    <a:pt x="311" y="224"/>
                    <a:pt x="305" y="222"/>
                    <a:pt x="301" y="216"/>
                  </a:cubicBezTo>
                  <a:cubicBezTo>
                    <a:pt x="293" y="207"/>
                    <a:pt x="294" y="193"/>
                    <a:pt x="304" y="186"/>
                  </a:cubicBezTo>
                  <a:cubicBezTo>
                    <a:pt x="311" y="180"/>
                    <a:pt x="311" y="180"/>
                    <a:pt x="311" y="180"/>
                  </a:cubicBezTo>
                  <a:cubicBezTo>
                    <a:pt x="320" y="172"/>
                    <a:pt x="334" y="174"/>
                    <a:pt x="342" y="183"/>
                  </a:cubicBezTo>
                  <a:cubicBezTo>
                    <a:pt x="349" y="193"/>
                    <a:pt x="348" y="207"/>
                    <a:pt x="338" y="214"/>
                  </a:cubicBezTo>
                  <a:cubicBezTo>
                    <a:pt x="332" y="219"/>
                    <a:pt x="332" y="219"/>
                    <a:pt x="332" y="219"/>
                  </a:cubicBezTo>
                  <a:cubicBezTo>
                    <a:pt x="328" y="223"/>
                    <a:pt x="323" y="224"/>
                    <a:pt x="318" y="224"/>
                  </a:cubicBezTo>
                  <a:close/>
                  <a:moveTo>
                    <a:pt x="1306" y="200"/>
                  </a:moveTo>
                  <a:cubicBezTo>
                    <a:pt x="1301" y="200"/>
                    <a:pt x="1297" y="199"/>
                    <a:pt x="1293" y="196"/>
                  </a:cubicBezTo>
                  <a:cubicBezTo>
                    <a:pt x="1286" y="191"/>
                    <a:pt x="1286" y="191"/>
                    <a:pt x="1286" y="191"/>
                  </a:cubicBezTo>
                  <a:cubicBezTo>
                    <a:pt x="1276" y="184"/>
                    <a:pt x="1274" y="170"/>
                    <a:pt x="1281" y="160"/>
                  </a:cubicBezTo>
                  <a:cubicBezTo>
                    <a:pt x="1288" y="151"/>
                    <a:pt x="1302" y="148"/>
                    <a:pt x="1312" y="155"/>
                  </a:cubicBezTo>
                  <a:cubicBezTo>
                    <a:pt x="1319" y="161"/>
                    <a:pt x="1319" y="161"/>
                    <a:pt x="1319" y="161"/>
                  </a:cubicBezTo>
                  <a:cubicBezTo>
                    <a:pt x="1329" y="168"/>
                    <a:pt x="1331" y="182"/>
                    <a:pt x="1323" y="191"/>
                  </a:cubicBezTo>
                  <a:cubicBezTo>
                    <a:pt x="1319" y="197"/>
                    <a:pt x="1313" y="200"/>
                    <a:pt x="1306" y="200"/>
                  </a:cubicBezTo>
                  <a:close/>
                  <a:moveTo>
                    <a:pt x="414" y="157"/>
                  </a:moveTo>
                  <a:cubicBezTo>
                    <a:pt x="406" y="157"/>
                    <a:pt x="399" y="153"/>
                    <a:pt x="395" y="146"/>
                  </a:cubicBezTo>
                  <a:cubicBezTo>
                    <a:pt x="389" y="136"/>
                    <a:pt x="392" y="122"/>
                    <a:pt x="402" y="116"/>
                  </a:cubicBezTo>
                  <a:cubicBezTo>
                    <a:pt x="410" y="112"/>
                    <a:pt x="410" y="112"/>
                    <a:pt x="410" y="112"/>
                  </a:cubicBezTo>
                  <a:cubicBezTo>
                    <a:pt x="420" y="106"/>
                    <a:pt x="434" y="109"/>
                    <a:pt x="440" y="120"/>
                  </a:cubicBezTo>
                  <a:cubicBezTo>
                    <a:pt x="446" y="130"/>
                    <a:pt x="443" y="143"/>
                    <a:pt x="432" y="149"/>
                  </a:cubicBezTo>
                  <a:cubicBezTo>
                    <a:pt x="425" y="154"/>
                    <a:pt x="425" y="154"/>
                    <a:pt x="425" y="154"/>
                  </a:cubicBezTo>
                  <a:cubicBezTo>
                    <a:pt x="421" y="156"/>
                    <a:pt x="417" y="157"/>
                    <a:pt x="414" y="157"/>
                  </a:cubicBezTo>
                  <a:close/>
                  <a:moveTo>
                    <a:pt x="1207" y="138"/>
                  </a:moveTo>
                  <a:cubicBezTo>
                    <a:pt x="1203" y="138"/>
                    <a:pt x="1200" y="137"/>
                    <a:pt x="1197" y="135"/>
                  </a:cubicBezTo>
                  <a:cubicBezTo>
                    <a:pt x="1189" y="131"/>
                    <a:pt x="1189" y="131"/>
                    <a:pt x="1189" y="131"/>
                  </a:cubicBezTo>
                  <a:cubicBezTo>
                    <a:pt x="1178" y="125"/>
                    <a:pt x="1174" y="112"/>
                    <a:pt x="1180" y="101"/>
                  </a:cubicBezTo>
                  <a:cubicBezTo>
                    <a:pt x="1185" y="91"/>
                    <a:pt x="1199" y="87"/>
                    <a:pt x="1209" y="92"/>
                  </a:cubicBezTo>
                  <a:cubicBezTo>
                    <a:pt x="1217" y="96"/>
                    <a:pt x="1217" y="96"/>
                    <a:pt x="1217" y="96"/>
                  </a:cubicBezTo>
                  <a:cubicBezTo>
                    <a:pt x="1228" y="102"/>
                    <a:pt x="1232" y="115"/>
                    <a:pt x="1226" y="126"/>
                  </a:cubicBezTo>
                  <a:cubicBezTo>
                    <a:pt x="1222" y="133"/>
                    <a:pt x="1215" y="138"/>
                    <a:pt x="1207" y="138"/>
                  </a:cubicBezTo>
                  <a:close/>
                  <a:moveTo>
                    <a:pt x="518" y="104"/>
                  </a:moveTo>
                  <a:cubicBezTo>
                    <a:pt x="510" y="104"/>
                    <a:pt x="502" y="99"/>
                    <a:pt x="498" y="91"/>
                  </a:cubicBezTo>
                  <a:cubicBezTo>
                    <a:pt x="493" y="79"/>
                    <a:pt x="499" y="67"/>
                    <a:pt x="510" y="62"/>
                  </a:cubicBezTo>
                  <a:cubicBezTo>
                    <a:pt x="518" y="59"/>
                    <a:pt x="518" y="59"/>
                    <a:pt x="518" y="59"/>
                  </a:cubicBezTo>
                  <a:cubicBezTo>
                    <a:pt x="529" y="54"/>
                    <a:pt x="542" y="59"/>
                    <a:pt x="547" y="71"/>
                  </a:cubicBezTo>
                  <a:cubicBezTo>
                    <a:pt x="551" y="82"/>
                    <a:pt x="546" y="95"/>
                    <a:pt x="535" y="99"/>
                  </a:cubicBezTo>
                  <a:cubicBezTo>
                    <a:pt x="527" y="102"/>
                    <a:pt x="527" y="102"/>
                    <a:pt x="527" y="102"/>
                  </a:cubicBezTo>
                  <a:cubicBezTo>
                    <a:pt x="524" y="104"/>
                    <a:pt x="521" y="104"/>
                    <a:pt x="518" y="104"/>
                  </a:cubicBezTo>
                  <a:close/>
                  <a:moveTo>
                    <a:pt x="1100" y="90"/>
                  </a:moveTo>
                  <a:cubicBezTo>
                    <a:pt x="1097" y="90"/>
                    <a:pt x="1095" y="90"/>
                    <a:pt x="1092" y="89"/>
                  </a:cubicBezTo>
                  <a:cubicBezTo>
                    <a:pt x="1084" y="86"/>
                    <a:pt x="1084" y="86"/>
                    <a:pt x="1084" y="86"/>
                  </a:cubicBezTo>
                  <a:cubicBezTo>
                    <a:pt x="1073" y="82"/>
                    <a:pt x="1067" y="69"/>
                    <a:pt x="1071" y="58"/>
                  </a:cubicBezTo>
                  <a:cubicBezTo>
                    <a:pt x="1075" y="47"/>
                    <a:pt x="1087" y="41"/>
                    <a:pt x="1099" y="44"/>
                  </a:cubicBezTo>
                  <a:cubicBezTo>
                    <a:pt x="1107" y="47"/>
                    <a:pt x="1107" y="47"/>
                    <a:pt x="1107" y="47"/>
                  </a:cubicBezTo>
                  <a:cubicBezTo>
                    <a:pt x="1119" y="52"/>
                    <a:pt x="1125" y="64"/>
                    <a:pt x="1120" y="76"/>
                  </a:cubicBezTo>
                  <a:cubicBezTo>
                    <a:pt x="1117" y="84"/>
                    <a:pt x="1109" y="90"/>
                    <a:pt x="1100" y="90"/>
                  </a:cubicBezTo>
                  <a:close/>
                  <a:moveTo>
                    <a:pt x="630" y="67"/>
                  </a:moveTo>
                  <a:cubicBezTo>
                    <a:pt x="620" y="67"/>
                    <a:pt x="611" y="61"/>
                    <a:pt x="608" y="51"/>
                  </a:cubicBezTo>
                  <a:cubicBezTo>
                    <a:pt x="605" y="39"/>
                    <a:pt x="612" y="27"/>
                    <a:pt x="624" y="24"/>
                  </a:cubicBezTo>
                  <a:cubicBezTo>
                    <a:pt x="633" y="22"/>
                    <a:pt x="633" y="22"/>
                    <a:pt x="633" y="22"/>
                  </a:cubicBezTo>
                  <a:cubicBezTo>
                    <a:pt x="645" y="19"/>
                    <a:pt x="656" y="26"/>
                    <a:pt x="659" y="38"/>
                  </a:cubicBezTo>
                  <a:cubicBezTo>
                    <a:pt x="662" y="50"/>
                    <a:pt x="655" y="62"/>
                    <a:pt x="643" y="64"/>
                  </a:cubicBezTo>
                  <a:cubicBezTo>
                    <a:pt x="635" y="66"/>
                    <a:pt x="635" y="66"/>
                    <a:pt x="635" y="66"/>
                  </a:cubicBezTo>
                  <a:cubicBezTo>
                    <a:pt x="633" y="67"/>
                    <a:pt x="631" y="67"/>
                    <a:pt x="630" y="67"/>
                  </a:cubicBezTo>
                  <a:close/>
                  <a:moveTo>
                    <a:pt x="987" y="59"/>
                  </a:moveTo>
                  <a:cubicBezTo>
                    <a:pt x="986" y="59"/>
                    <a:pt x="984" y="58"/>
                    <a:pt x="983" y="58"/>
                  </a:cubicBezTo>
                  <a:cubicBezTo>
                    <a:pt x="974" y="56"/>
                    <a:pt x="974" y="56"/>
                    <a:pt x="974" y="56"/>
                  </a:cubicBezTo>
                  <a:cubicBezTo>
                    <a:pt x="962" y="54"/>
                    <a:pt x="955" y="43"/>
                    <a:pt x="957" y="31"/>
                  </a:cubicBezTo>
                  <a:cubicBezTo>
                    <a:pt x="959" y="19"/>
                    <a:pt x="971" y="11"/>
                    <a:pt x="983" y="13"/>
                  </a:cubicBezTo>
                  <a:cubicBezTo>
                    <a:pt x="991" y="15"/>
                    <a:pt x="991" y="15"/>
                    <a:pt x="991" y="15"/>
                  </a:cubicBezTo>
                  <a:cubicBezTo>
                    <a:pt x="1003" y="18"/>
                    <a:pt x="1011" y="29"/>
                    <a:pt x="1008" y="41"/>
                  </a:cubicBezTo>
                  <a:cubicBezTo>
                    <a:pt x="1006" y="51"/>
                    <a:pt x="997" y="59"/>
                    <a:pt x="987" y="59"/>
                  </a:cubicBezTo>
                  <a:close/>
                  <a:moveTo>
                    <a:pt x="745" y="47"/>
                  </a:moveTo>
                  <a:cubicBezTo>
                    <a:pt x="734" y="47"/>
                    <a:pt x="724" y="38"/>
                    <a:pt x="723" y="27"/>
                  </a:cubicBezTo>
                  <a:cubicBezTo>
                    <a:pt x="722" y="15"/>
                    <a:pt x="731" y="4"/>
                    <a:pt x="743" y="3"/>
                  </a:cubicBezTo>
                  <a:cubicBezTo>
                    <a:pt x="752" y="2"/>
                    <a:pt x="752" y="2"/>
                    <a:pt x="752" y="2"/>
                  </a:cubicBezTo>
                  <a:cubicBezTo>
                    <a:pt x="764" y="1"/>
                    <a:pt x="774" y="10"/>
                    <a:pt x="775" y="22"/>
                  </a:cubicBezTo>
                  <a:cubicBezTo>
                    <a:pt x="776" y="34"/>
                    <a:pt x="768" y="45"/>
                    <a:pt x="756" y="46"/>
                  </a:cubicBezTo>
                  <a:cubicBezTo>
                    <a:pt x="747" y="47"/>
                    <a:pt x="747" y="47"/>
                    <a:pt x="747" y="47"/>
                  </a:cubicBezTo>
                  <a:cubicBezTo>
                    <a:pt x="746" y="47"/>
                    <a:pt x="746" y="47"/>
                    <a:pt x="745" y="47"/>
                  </a:cubicBezTo>
                  <a:close/>
                  <a:moveTo>
                    <a:pt x="871" y="44"/>
                  </a:moveTo>
                  <a:cubicBezTo>
                    <a:pt x="870" y="44"/>
                    <a:pt x="870" y="44"/>
                    <a:pt x="870" y="44"/>
                  </a:cubicBezTo>
                  <a:cubicBezTo>
                    <a:pt x="861" y="43"/>
                    <a:pt x="861" y="43"/>
                    <a:pt x="861" y="43"/>
                  </a:cubicBezTo>
                  <a:cubicBezTo>
                    <a:pt x="849" y="43"/>
                    <a:pt x="840" y="33"/>
                    <a:pt x="840" y="21"/>
                  </a:cubicBezTo>
                  <a:cubicBezTo>
                    <a:pt x="841" y="8"/>
                    <a:pt x="851" y="0"/>
                    <a:pt x="863" y="0"/>
                  </a:cubicBezTo>
                  <a:cubicBezTo>
                    <a:pt x="872" y="0"/>
                    <a:pt x="872" y="0"/>
                    <a:pt x="872" y="0"/>
                  </a:cubicBezTo>
                  <a:cubicBezTo>
                    <a:pt x="884" y="1"/>
                    <a:pt x="893" y="11"/>
                    <a:pt x="893" y="23"/>
                  </a:cubicBezTo>
                  <a:cubicBezTo>
                    <a:pt x="892" y="35"/>
                    <a:pt x="882" y="44"/>
                    <a:pt x="87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Rectangle 51"/>
            <p:cNvSpPr>
              <a:spLocks noChangeArrowheads="1"/>
            </p:cNvSpPr>
            <p:nvPr userDrawn="1"/>
          </p:nvSpPr>
          <p:spPr bwMode="auto">
            <a:xfrm flipH="1">
              <a:off x="1287463" y="4362450"/>
              <a:ext cx="987425" cy="557213"/>
            </a:xfrm>
            <a:prstGeom prst="rect">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6" name="Freeform 52"/>
            <p:cNvSpPr>
              <a:spLocks/>
            </p:cNvSpPr>
            <p:nvPr userDrawn="1"/>
          </p:nvSpPr>
          <p:spPr bwMode="auto">
            <a:xfrm flipH="1">
              <a:off x="1287463" y="4362450"/>
              <a:ext cx="493713" cy="557213"/>
            </a:xfrm>
            <a:custGeom>
              <a:avLst/>
              <a:gdLst>
                <a:gd name="T0" fmla="*/ 311 w 311"/>
                <a:gd name="T1" fmla="*/ 351 h 351"/>
                <a:gd name="T2" fmla="*/ 0 w 311"/>
                <a:gd name="T3" fmla="*/ 175 h 351"/>
                <a:gd name="T4" fmla="*/ 311 w 311"/>
                <a:gd name="T5" fmla="*/ 0 h 351"/>
                <a:gd name="T6" fmla="*/ 311 w 311"/>
                <a:gd name="T7" fmla="*/ 351 h 351"/>
              </a:gdLst>
              <a:ahLst/>
              <a:cxnLst>
                <a:cxn ang="0">
                  <a:pos x="T0" y="T1"/>
                </a:cxn>
                <a:cxn ang="0">
                  <a:pos x="T2" y="T3"/>
                </a:cxn>
                <a:cxn ang="0">
                  <a:pos x="T4" y="T5"/>
                </a:cxn>
                <a:cxn ang="0">
                  <a:pos x="T6" y="T7"/>
                </a:cxn>
              </a:cxnLst>
              <a:rect l="0" t="0" r="r" b="b"/>
              <a:pathLst>
                <a:path w="311" h="351">
                  <a:moveTo>
                    <a:pt x="311" y="351"/>
                  </a:moveTo>
                  <a:lnTo>
                    <a:pt x="0" y="175"/>
                  </a:lnTo>
                  <a:lnTo>
                    <a:pt x="311" y="0"/>
                  </a:lnTo>
                  <a:lnTo>
                    <a:pt x="311" y="351"/>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Freeform 53"/>
            <p:cNvSpPr>
              <a:spLocks/>
            </p:cNvSpPr>
            <p:nvPr userDrawn="1"/>
          </p:nvSpPr>
          <p:spPr bwMode="auto">
            <a:xfrm flipH="1">
              <a:off x="1781175" y="4362450"/>
              <a:ext cx="493713" cy="557213"/>
            </a:xfrm>
            <a:custGeom>
              <a:avLst/>
              <a:gdLst>
                <a:gd name="T0" fmla="*/ 0 w 311"/>
                <a:gd name="T1" fmla="*/ 351 h 351"/>
                <a:gd name="T2" fmla="*/ 311 w 311"/>
                <a:gd name="T3" fmla="*/ 175 h 351"/>
                <a:gd name="T4" fmla="*/ 0 w 311"/>
                <a:gd name="T5" fmla="*/ 0 h 351"/>
                <a:gd name="T6" fmla="*/ 0 w 311"/>
                <a:gd name="T7" fmla="*/ 351 h 351"/>
              </a:gdLst>
              <a:ahLst/>
              <a:cxnLst>
                <a:cxn ang="0">
                  <a:pos x="T0" y="T1"/>
                </a:cxn>
                <a:cxn ang="0">
                  <a:pos x="T2" y="T3"/>
                </a:cxn>
                <a:cxn ang="0">
                  <a:pos x="T4" y="T5"/>
                </a:cxn>
                <a:cxn ang="0">
                  <a:pos x="T6" y="T7"/>
                </a:cxn>
              </a:cxnLst>
              <a:rect l="0" t="0" r="r" b="b"/>
              <a:pathLst>
                <a:path w="311" h="351">
                  <a:moveTo>
                    <a:pt x="0" y="351"/>
                  </a:moveTo>
                  <a:lnTo>
                    <a:pt x="311" y="175"/>
                  </a:lnTo>
                  <a:lnTo>
                    <a:pt x="0" y="0"/>
                  </a:lnTo>
                  <a:lnTo>
                    <a:pt x="0" y="351"/>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 name="Freeform 54"/>
            <p:cNvSpPr>
              <a:spLocks/>
            </p:cNvSpPr>
            <p:nvPr userDrawn="1"/>
          </p:nvSpPr>
          <p:spPr bwMode="auto">
            <a:xfrm flipH="1">
              <a:off x="1287463" y="4362450"/>
              <a:ext cx="987425" cy="406400"/>
            </a:xfrm>
            <a:custGeom>
              <a:avLst/>
              <a:gdLst>
                <a:gd name="T0" fmla="*/ 622 w 622"/>
                <a:gd name="T1" fmla="*/ 0 h 256"/>
                <a:gd name="T2" fmla="*/ 311 w 622"/>
                <a:gd name="T3" fmla="*/ 256 h 256"/>
                <a:gd name="T4" fmla="*/ 0 w 622"/>
                <a:gd name="T5" fmla="*/ 0 h 256"/>
                <a:gd name="T6" fmla="*/ 622 w 622"/>
                <a:gd name="T7" fmla="*/ 0 h 256"/>
              </a:gdLst>
              <a:ahLst/>
              <a:cxnLst>
                <a:cxn ang="0">
                  <a:pos x="T0" y="T1"/>
                </a:cxn>
                <a:cxn ang="0">
                  <a:pos x="T2" y="T3"/>
                </a:cxn>
                <a:cxn ang="0">
                  <a:pos x="T4" y="T5"/>
                </a:cxn>
                <a:cxn ang="0">
                  <a:pos x="T6" y="T7"/>
                </a:cxn>
              </a:cxnLst>
              <a:rect l="0" t="0" r="r" b="b"/>
              <a:pathLst>
                <a:path w="622" h="256">
                  <a:moveTo>
                    <a:pt x="622" y="0"/>
                  </a:moveTo>
                  <a:lnTo>
                    <a:pt x="311" y="256"/>
                  </a:lnTo>
                  <a:lnTo>
                    <a:pt x="0" y="0"/>
                  </a:lnTo>
                  <a:lnTo>
                    <a:pt x="6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 name="Freeform 56"/>
            <p:cNvSpPr>
              <a:spLocks/>
            </p:cNvSpPr>
            <p:nvPr userDrawn="1"/>
          </p:nvSpPr>
          <p:spPr bwMode="auto">
            <a:xfrm flipH="1">
              <a:off x="1287463" y="4362450"/>
              <a:ext cx="493713" cy="557213"/>
            </a:xfrm>
            <a:custGeom>
              <a:avLst/>
              <a:gdLst>
                <a:gd name="T0" fmla="*/ 311 w 311"/>
                <a:gd name="T1" fmla="*/ 351 h 351"/>
                <a:gd name="T2" fmla="*/ 0 w 311"/>
                <a:gd name="T3" fmla="*/ 175 h 351"/>
                <a:gd name="T4" fmla="*/ 311 w 311"/>
                <a:gd name="T5" fmla="*/ 0 h 351"/>
                <a:gd name="T6" fmla="*/ 311 w 311"/>
                <a:gd name="T7" fmla="*/ 351 h 351"/>
              </a:gdLst>
              <a:ahLst/>
              <a:cxnLst>
                <a:cxn ang="0">
                  <a:pos x="T0" y="T1"/>
                </a:cxn>
                <a:cxn ang="0">
                  <a:pos x="T2" y="T3"/>
                </a:cxn>
                <a:cxn ang="0">
                  <a:pos x="T4" y="T5"/>
                </a:cxn>
                <a:cxn ang="0">
                  <a:pos x="T6" y="T7"/>
                </a:cxn>
              </a:cxnLst>
              <a:rect l="0" t="0" r="r" b="b"/>
              <a:pathLst>
                <a:path w="311" h="351">
                  <a:moveTo>
                    <a:pt x="311" y="351"/>
                  </a:moveTo>
                  <a:lnTo>
                    <a:pt x="0" y="175"/>
                  </a:lnTo>
                  <a:lnTo>
                    <a:pt x="311" y="0"/>
                  </a:lnTo>
                  <a:lnTo>
                    <a:pt x="311" y="351"/>
                  </a:ln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0" name="Freeform 57"/>
            <p:cNvSpPr>
              <a:spLocks/>
            </p:cNvSpPr>
            <p:nvPr userDrawn="1"/>
          </p:nvSpPr>
          <p:spPr bwMode="auto">
            <a:xfrm flipH="1">
              <a:off x="1781175" y="4362450"/>
              <a:ext cx="493713" cy="557213"/>
            </a:xfrm>
            <a:custGeom>
              <a:avLst/>
              <a:gdLst>
                <a:gd name="T0" fmla="*/ 0 w 311"/>
                <a:gd name="T1" fmla="*/ 351 h 351"/>
                <a:gd name="T2" fmla="*/ 311 w 311"/>
                <a:gd name="T3" fmla="*/ 175 h 351"/>
                <a:gd name="T4" fmla="*/ 0 w 311"/>
                <a:gd name="T5" fmla="*/ 0 h 351"/>
                <a:gd name="T6" fmla="*/ 0 w 311"/>
                <a:gd name="T7" fmla="*/ 351 h 351"/>
              </a:gdLst>
              <a:ahLst/>
              <a:cxnLst>
                <a:cxn ang="0">
                  <a:pos x="T0" y="T1"/>
                </a:cxn>
                <a:cxn ang="0">
                  <a:pos x="T2" y="T3"/>
                </a:cxn>
                <a:cxn ang="0">
                  <a:pos x="T4" y="T5"/>
                </a:cxn>
                <a:cxn ang="0">
                  <a:pos x="T6" y="T7"/>
                </a:cxn>
              </a:cxnLst>
              <a:rect l="0" t="0" r="r" b="b"/>
              <a:pathLst>
                <a:path w="311" h="351">
                  <a:moveTo>
                    <a:pt x="0" y="351"/>
                  </a:moveTo>
                  <a:lnTo>
                    <a:pt x="311" y="175"/>
                  </a:lnTo>
                  <a:lnTo>
                    <a:pt x="0" y="0"/>
                  </a:lnTo>
                  <a:lnTo>
                    <a:pt x="0" y="351"/>
                  </a:ln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1" name="Freeform 58"/>
            <p:cNvSpPr>
              <a:spLocks/>
            </p:cNvSpPr>
            <p:nvPr userDrawn="1"/>
          </p:nvSpPr>
          <p:spPr bwMode="auto">
            <a:xfrm flipH="1">
              <a:off x="1287463" y="4362450"/>
              <a:ext cx="987425" cy="406400"/>
            </a:xfrm>
            <a:custGeom>
              <a:avLst/>
              <a:gdLst>
                <a:gd name="T0" fmla="*/ 622 w 622"/>
                <a:gd name="T1" fmla="*/ 0 h 256"/>
                <a:gd name="T2" fmla="*/ 311 w 622"/>
                <a:gd name="T3" fmla="*/ 256 h 256"/>
                <a:gd name="T4" fmla="*/ 0 w 622"/>
                <a:gd name="T5" fmla="*/ 0 h 256"/>
                <a:gd name="T6" fmla="*/ 622 w 622"/>
                <a:gd name="T7" fmla="*/ 0 h 256"/>
              </a:gdLst>
              <a:ahLst/>
              <a:cxnLst>
                <a:cxn ang="0">
                  <a:pos x="T0" y="T1"/>
                </a:cxn>
                <a:cxn ang="0">
                  <a:pos x="T2" y="T3"/>
                </a:cxn>
                <a:cxn ang="0">
                  <a:pos x="T4" y="T5"/>
                </a:cxn>
                <a:cxn ang="0">
                  <a:pos x="T6" y="T7"/>
                </a:cxn>
              </a:cxnLst>
              <a:rect l="0" t="0" r="r" b="b"/>
              <a:pathLst>
                <a:path w="622" h="256">
                  <a:moveTo>
                    <a:pt x="622" y="0"/>
                  </a:moveTo>
                  <a:lnTo>
                    <a:pt x="311" y="256"/>
                  </a:lnTo>
                  <a:lnTo>
                    <a:pt x="0" y="0"/>
                  </a:lnTo>
                  <a:lnTo>
                    <a:pt x="622" y="0"/>
                  </a:ln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2" name="Rectangle 59"/>
            <p:cNvSpPr>
              <a:spLocks noChangeArrowheads="1"/>
            </p:cNvSpPr>
            <p:nvPr userDrawn="1"/>
          </p:nvSpPr>
          <p:spPr bwMode="auto">
            <a:xfrm flipH="1">
              <a:off x="3490913" y="4694238"/>
              <a:ext cx="711200" cy="309563"/>
            </a:xfrm>
            <a:prstGeom prst="rect">
              <a:avLst/>
            </a:pr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3" name="Rectangle 60"/>
            <p:cNvSpPr>
              <a:spLocks noChangeArrowheads="1"/>
            </p:cNvSpPr>
            <p:nvPr userDrawn="1"/>
          </p:nvSpPr>
          <p:spPr bwMode="auto">
            <a:xfrm flipH="1">
              <a:off x="3400426" y="4930775"/>
              <a:ext cx="892175" cy="73025"/>
            </a:xfrm>
            <a:prstGeom prst="rect">
              <a:avLst/>
            </a:pr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4" name="Freeform 61"/>
            <p:cNvSpPr>
              <a:spLocks/>
            </p:cNvSpPr>
            <p:nvPr userDrawn="1"/>
          </p:nvSpPr>
          <p:spPr bwMode="auto">
            <a:xfrm flipH="1">
              <a:off x="2624138" y="2967038"/>
              <a:ext cx="2444750" cy="1782763"/>
            </a:xfrm>
            <a:custGeom>
              <a:avLst/>
              <a:gdLst>
                <a:gd name="T0" fmla="*/ 1540 w 1540"/>
                <a:gd name="T1" fmla="*/ 1077 h 1123"/>
                <a:gd name="T2" fmla="*/ 1494 w 1540"/>
                <a:gd name="T3" fmla="*/ 1123 h 1123"/>
                <a:gd name="T4" fmla="*/ 46 w 1540"/>
                <a:gd name="T5" fmla="*/ 1123 h 1123"/>
                <a:gd name="T6" fmla="*/ 0 w 1540"/>
                <a:gd name="T7" fmla="*/ 1077 h 1123"/>
                <a:gd name="T8" fmla="*/ 0 w 1540"/>
                <a:gd name="T9" fmla="*/ 46 h 1123"/>
                <a:gd name="T10" fmla="*/ 46 w 1540"/>
                <a:gd name="T11" fmla="*/ 0 h 1123"/>
                <a:gd name="T12" fmla="*/ 1494 w 1540"/>
                <a:gd name="T13" fmla="*/ 0 h 1123"/>
                <a:gd name="T14" fmla="*/ 1540 w 1540"/>
                <a:gd name="T15" fmla="*/ 46 h 1123"/>
                <a:gd name="T16" fmla="*/ 1540 w 1540"/>
                <a:gd name="T17" fmla="*/ 1077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0" h="1123">
                  <a:moveTo>
                    <a:pt x="1540" y="1077"/>
                  </a:moveTo>
                  <a:cubicBezTo>
                    <a:pt x="1540" y="1102"/>
                    <a:pt x="1520" y="1123"/>
                    <a:pt x="1494" y="1123"/>
                  </a:cubicBezTo>
                  <a:cubicBezTo>
                    <a:pt x="46" y="1123"/>
                    <a:pt x="46" y="1123"/>
                    <a:pt x="46" y="1123"/>
                  </a:cubicBezTo>
                  <a:cubicBezTo>
                    <a:pt x="20" y="1123"/>
                    <a:pt x="0" y="1102"/>
                    <a:pt x="0" y="1077"/>
                  </a:cubicBezTo>
                  <a:cubicBezTo>
                    <a:pt x="0" y="46"/>
                    <a:pt x="0" y="46"/>
                    <a:pt x="0" y="46"/>
                  </a:cubicBezTo>
                  <a:cubicBezTo>
                    <a:pt x="0" y="20"/>
                    <a:pt x="20" y="0"/>
                    <a:pt x="46" y="0"/>
                  </a:cubicBezTo>
                  <a:cubicBezTo>
                    <a:pt x="1494" y="0"/>
                    <a:pt x="1494" y="0"/>
                    <a:pt x="1494" y="0"/>
                  </a:cubicBezTo>
                  <a:cubicBezTo>
                    <a:pt x="1520" y="0"/>
                    <a:pt x="1540" y="20"/>
                    <a:pt x="1540" y="46"/>
                  </a:cubicBezTo>
                  <a:lnTo>
                    <a:pt x="1540" y="1077"/>
                  </a:ln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5" name="Freeform 62"/>
            <p:cNvSpPr>
              <a:spLocks/>
            </p:cNvSpPr>
            <p:nvPr userDrawn="1"/>
          </p:nvSpPr>
          <p:spPr bwMode="auto">
            <a:xfrm flipH="1">
              <a:off x="2624138" y="2967038"/>
              <a:ext cx="2444750" cy="1550988"/>
            </a:xfrm>
            <a:custGeom>
              <a:avLst/>
              <a:gdLst>
                <a:gd name="T0" fmla="*/ 1540 w 1540"/>
                <a:gd name="T1" fmla="*/ 977 h 977"/>
                <a:gd name="T2" fmla="*/ 1540 w 1540"/>
                <a:gd name="T3" fmla="*/ 46 h 977"/>
                <a:gd name="T4" fmla="*/ 1494 w 1540"/>
                <a:gd name="T5" fmla="*/ 0 h 977"/>
                <a:gd name="T6" fmla="*/ 46 w 1540"/>
                <a:gd name="T7" fmla="*/ 0 h 977"/>
                <a:gd name="T8" fmla="*/ 0 w 1540"/>
                <a:gd name="T9" fmla="*/ 46 h 977"/>
                <a:gd name="T10" fmla="*/ 0 w 1540"/>
                <a:gd name="T11" fmla="*/ 977 h 977"/>
                <a:gd name="T12" fmla="*/ 1540 w 1540"/>
                <a:gd name="T13" fmla="*/ 977 h 977"/>
              </a:gdLst>
              <a:ahLst/>
              <a:cxnLst>
                <a:cxn ang="0">
                  <a:pos x="T0" y="T1"/>
                </a:cxn>
                <a:cxn ang="0">
                  <a:pos x="T2" y="T3"/>
                </a:cxn>
                <a:cxn ang="0">
                  <a:pos x="T4" y="T5"/>
                </a:cxn>
                <a:cxn ang="0">
                  <a:pos x="T6" y="T7"/>
                </a:cxn>
                <a:cxn ang="0">
                  <a:pos x="T8" y="T9"/>
                </a:cxn>
                <a:cxn ang="0">
                  <a:pos x="T10" y="T11"/>
                </a:cxn>
                <a:cxn ang="0">
                  <a:pos x="T12" y="T13"/>
                </a:cxn>
              </a:cxnLst>
              <a:rect l="0" t="0" r="r" b="b"/>
              <a:pathLst>
                <a:path w="1540" h="977">
                  <a:moveTo>
                    <a:pt x="1540" y="977"/>
                  </a:moveTo>
                  <a:cubicBezTo>
                    <a:pt x="1540" y="46"/>
                    <a:pt x="1540" y="46"/>
                    <a:pt x="1540" y="46"/>
                  </a:cubicBezTo>
                  <a:cubicBezTo>
                    <a:pt x="1540" y="20"/>
                    <a:pt x="1520" y="0"/>
                    <a:pt x="1494" y="0"/>
                  </a:cubicBezTo>
                  <a:cubicBezTo>
                    <a:pt x="46" y="0"/>
                    <a:pt x="46" y="0"/>
                    <a:pt x="46" y="0"/>
                  </a:cubicBezTo>
                  <a:cubicBezTo>
                    <a:pt x="20" y="0"/>
                    <a:pt x="0" y="20"/>
                    <a:pt x="0" y="46"/>
                  </a:cubicBezTo>
                  <a:cubicBezTo>
                    <a:pt x="0" y="977"/>
                    <a:pt x="0" y="977"/>
                    <a:pt x="0" y="977"/>
                  </a:cubicBezTo>
                  <a:lnTo>
                    <a:pt x="1540" y="9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Rectangle 63"/>
            <p:cNvSpPr>
              <a:spLocks noChangeArrowheads="1"/>
            </p:cNvSpPr>
            <p:nvPr userDrawn="1"/>
          </p:nvSpPr>
          <p:spPr bwMode="auto">
            <a:xfrm flipH="1">
              <a:off x="2727326" y="3070225"/>
              <a:ext cx="2238375" cy="138588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7" name="Rectangle 64"/>
            <p:cNvSpPr>
              <a:spLocks noChangeArrowheads="1"/>
            </p:cNvSpPr>
            <p:nvPr userDrawn="1"/>
          </p:nvSpPr>
          <p:spPr bwMode="auto">
            <a:xfrm flipH="1">
              <a:off x="2727326" y="3070225"/>
              <a:ext cx="2238375" cy="115888"/>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Rectangle 65"/>
            <p:cNvSpPr>
              <a:spLocks noChangeArrowheads="1"/>
            </p:cNvSpPr>
            <p:nvPr userDrawn="1"/>
          </p:nvSpPr>
          <p:spPr bwMode="auto">
            <a:xfrm flipH="1">
              <a:off x="3014663" y="3101975"/>
              <a:ext cx="1663700" cy="52388"/>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9" name="Oval 66"/>
            <p:cNvSpPr>
              <a:spLocks noChangeArrowheads="1"/>
            </p:cNvSpPr>
            <p:nvPr userDrawn="1"/>
          </p:nvSpPr>
          <p:spPr bwMode="auto">
            <a:xfrm flipH="1">
              <a:off x="4887913" y="3101975"/>
              <a:ext cx="53975" cy="52388"/>
            </a:xfrm>
            <a:prstGeom prst="ellipse">
              <a:avLst/>
            </a:prstGeom>
            <a:solidFill>
              <a:srgbClr val="FF1D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Oval 67"/>
            <p:cNvSpPr>
              <a:spLocks noChangeArrowheads="1"/>
            </p:cNvSpPr>
            <p:nvPr userDrawn="1"/>
          </p:nvSpPr>
          <p:spPr bwMode="auto">
            <a:xfrm flipH="1">
              <a:off x="4811713" y="3101975"/>
              <a:ext cx="53975" cy="52388"/>
            </a:xfrm>
            <a:prstGeom prst="ellipse">
              <a:avLst/>
            </a:prstGeom>
            <a:solidFill>
              <a:srgbClr val="FBED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Oval 68"/>
            <p:cNvSpPr>
              <a:spLocks noChangeArrowheads="1"/>
            </p:cNvSpPr>
            <p:nvPr userDrawn="1"/>
          </p:nvSpPr>
          <p:spPr bwMode="auto">
            <a:xfrm flipH="1">
              <a:off x="4735513" y="3101975"/>
              <a:ext cx="53975" cy="52388"/>
            </a:xfrm>
            <a:prstGeom prst="ellipse">
              <a:avLst/>
            </a:prstGeom>
            <a:solidFill>
              <a:srgbClr val="8BC5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 name="Rectangle 69"/>
            <p:cNvSpPr>
              <a:spLocks noChangeArrowheads="1"/>
            </p:cNvSpPr>
            <p:nvPr userDrawn="1"/>
          </p:nvSpPr>
          <p:spPr bwMode="auto">
            <a:xfrm flipH="1">
              <a:off x="2862263" y="3101975"/>
              <a:ext cx="125413" cy="635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 name="Rectangle 70"/>
            <p:cNvSpPr>
              <a:spLocks noChangeArrowheads="1"/>
            </p:cNvSpPr>
            <p:nvPr userDrawn="1"/>
          </p:nvSpPr>
          <p:spPr bwMode="auto">
            <a:xfrm flipH="1">
              <a:off x="2862263" y="3117850"/>
              <a:ext cx="125413" cy="635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Rectangle 71"/>
            <p:cNvSpPr>
              <a:spLocks noChangeArrowheads="1"/>
            </p:cNvSpPr>
            <p:nvPr userDrawn="1"/>
          </p:nvSpPr>
          <p:spPr bwMode="auto">
            <a:xfrm flipH="1">
              <a:off x="2862263" y="3132138"/>
              <a:ext cx="125413" cy="7938"/>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Rectangle 72"/>
            <p:cNvSpPr>
              <a:spLocks noChangeArrowheads="1"/>
            </p:cNvSpPr>
            <p:nvPr userDrawn="1"/>
          </p:nvSpPr>
          <p:spPr bwMode="auto">
            <a:xfrm flipH="1">
              <a:off x="2862263" y="3148013"/>
              <a:ext cx="125413" cy="635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Rectangle 73"/>
            <p:cNvSpPr>
              <a:spLocks noChangeArrowheads="1"/>
            </p:cNvSpPr>
            <p:nvPr userDrawn="1"/>
          </p:nvSpPr>
          <p:spPr bwMode="auto">
            <a:xfrm flipH="1">
              <a:off x="2763838" y="3101975"/>
              <a:ext cx="69850" cy="52388"/>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Oval 74"/>
            <p:cNvSpPr>
              <a:spLocks noChangeArrowheads="1"/>
            </p:cNvSpPr>
            <p:nvPr userDrawn="1"/>
          </p:nvSpPr>
          <p:spPr bwMode="auto">
            <a:xfrm flipH="1">
              <a:off x="3789363" y="4587875"/>
              <a:ext cx="114300" cy="1143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Freeform 75"/>
            <p:cNvSpPr>
              <a:spLocks/>
            </p:cNvSpPr>
            <p:nvPr userDrawn="1"/>
          </p:nvSpPr>
          <p:spPr bwMode="auto">
            <a:xfrm flipH="1">
              <a:off x="3314701" y="3262313"/>
              <a:ext cx="1050925" cy="757238"/>
            </a:xfrm>
            <a:custGeom>
              <a:avLst/>
              <a:gdLst>
                <a:gd name="T0" fmla="*/ 662 w 662"/>
                <a:gd name="T1" fmla="*/ 238 h 477"/>
                <a:gd name="T2" fmla="*/ 331 w 662"/>
                <a:gd name="T3" fmla="*/ 477 h 477"/>
                <a:gd name="T4" fmla="*/ 0 w 662"/>
                <a:gd name="T5" fmla="*/ 238 h 477"/>
                <a:gd name="T6" fmla="*/ 331 w 662"/>
                <a:gd name="T7" fmla="*/ 0 h 477"/>
                <a:gd name="T8" fmla="*/ 662 w 662"/>
                <a:gd name="T9" fmla="*/ 238 h 477"/>
              </a:gdLst>
              <a:ahLst/>
              <a:cxnLst>
                <a:cxn ang="0">
                  <a:pos x="T0" y="T1"/>
                </a:cxn>
                <a:cxn ang="0">
                  <a:pos x="T2" y="T3"/>
                </a:cxn>
                <a:cxn ang="0">
                  <a:pos x="T4" y="T5"/>
                </a:cxn>
                <a:cxn ang="0">
                  <a:pos x="T6" y="T7"/>
                </a:cxn>
                <a:cxn ang="0">
                  <a:pos x="T8" y="T9"/>
                </a:cxn>
              </a:cxnLst>
              <a:rect l="0" t="0" r="r" b="b"/>
              <a:pathLst>
                <a:path w="662" h="477">
                  <a:moveTo>
                    <a:pt x="662" y="238"/>
                  </a:moveTo>
                  <a:lnTo>
                    <a:pt x="331" y="477"/>
                  </a:lnTo>
                  <a:lnTo>
                    <a:pt x="0" y="238"/>
                  </a:lnTo>
                  <a:lnTo>
                    <a:pt x="331" y="0"/>
                  </a:lnTo>
                  <a:lnTo>
                    <a:pt x="662" y="238"/>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9" name="Rectangle 76"/>
            <p:cNvSpPr>
              <a:spLocks noChangeArrowheads="1"/>
            </p:cNvSpPr>
            <p:nvPr userDrawn="1"/>
          </p:nvSpPr>
          <p:spPr bwMode="auto">
            <a:xfrm flipH="1">
              <a:off x="3459163" y="3327400"/>
              <a:ext cx="762000" cy="933450"/>
            </a:xfrm>
            <a:prstGeom prst="rect">
              <a:avLst/>
            </a:prstGeom>
            <a:solidFill>
              <a:srgbClr val="FFFD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0" name="Rectangle 77"/>
            <p:cNvSpPr>
              <a:spLocks noChangeArrowheads="1"/>
            </p:cNvSpPr>
            <p:nvPr userDrawn="1"/>
          </p:nvSpPr>
          <p:spPr bwMode="auto">
            <a:xfrm flipH="1">
              <a:off x="3884613" y="3455988"/>
              <a:ext cx="217488" cy="42863"/>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1" name="Rectangle 78"/>
            <p:cNvSpPr>
              <a:spLocks noChangeArrowheads="1"/>
            </p:cNvSpPr>
            <p:nvPr userDrawn="1"/>
          </p:nvSpPr>
          <p:spPr bwMode="auto">
            <a:xfrm flipH="1">
              <a:off x="3575051" y="3541713"/>
              <a:ext cx="530225" cy="42863"/>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2" name="Rectangle 79"/>
            <p:cNvSpPr>
              <a:spLocks noChangeArrowheads="1"/>
            </p:cNvSpPr>
            <p:nvPr userDrawn="1"/>
          </p:nvSpPr>
          <p:spPr bwMode="auto">
            <a:xfrm flipH="1">
              <a:off x="3575051" y="3622675"/>
              <a:ext cx="530225" cy="44450"/>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3" name="Rectangle 80"/>
            <p:cNvSpPr>
              <a:spLocks noChangeArrowheads="1"/>
            </p:cNvSpPr>
            <p:nvPr userDrawn="1"/>
          </p:nvSpPr>
          <p:spPr bwMode="auto">
            <a:xfrm flipH="1">
              <a:off x="3575051" y="3705225"/>
              <a:ext cx="530225" cy="42863"/>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4" name="Rectangle 81"/>
            <p:cNvSpPr>
              <a:spLocks noChangeArrowheads="1"/>
            </p:cNvSpPr>
            <p:nvPr userDrawn="1"/>
          </p:nvSpPr>
          <p:spPr bwMode="auto">
            <a:xfrm flipH="1">
              <a:off x="3575051" y="3786188"/>
              <a:ext cx="530225" cy="44450"/>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5" name="Rectangle 82"/>
            <p:cNvSpPr>
              <a:spLocks noChangeArrowheads="1"/>
            </p:cNvSpPr>
            <p:nvPr userDrawn="1"/>
          </p:nvSpPr>
          <p:spPr bwMode="auto">
            <a:xfrm flipH="1">
              <a:off x="3575051" y="3868738"/>
              <a:ext cx="530225" cy="44450"/>
            </a:xfrm>
            <a:prstGeom prst="rect">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6" name="Rectangle 83"/>
            <p:cNvSpPr>
              <a:spLocks noChangeArrowheads="1"/>
            </p:cNvSpPr>
            <p:nvPr userDrawn="1"/>
          </p:nvSpPr>
          <p:spPr bwMode="auto">
            <a:xfrm flipH="1">
              <a:off x="3575051" y="3949700"/>
              <a:ext cx="530225" cy="44450"/>
            </a:xfrm>
            <a:prstGeom prst="rect">
              <a:avLst/>
            </a:prstGeom>
            <a:solidFill>
              <a:srgbClr val="FFDE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Freeform 84"/>
            <p:cNvSpPr>
              <a:spLocks/>
            </p:cNvSpPr>
            <p:nvPr userDrawn="1"/>
          </p:nvSpPr>
          <p:spPr bwMode="auto">
            <a:xfrm flipH="1">
              <a:off x="3314701" y="3640138"/>
              <a:ext cx="1050925" cy="620713"/>
            </a:xfrm>
            <a:custGeom>
              <a:avLst/>
              <a:gdLst>
                <a:gd name="T0" fmla="*/ 0 w 662"/>
                <a:gd name="T1" fmla="*/ 391 h 391"/>
                <a:gd name="T2" fmla="*/ 662 w 662"/>
                <a:gd name="T3" fmla="*/ 391 h 391"/>
                <a:gd name="T4" fmla="*/ 662 w 662"/>
                <a:gd name="T5" fmla="*/ 0 h 391"/>
                <a:gd name="T6" fmla="*/ 331 w 662"/>
                <a:gd name="T7" fmla="*/ 239 h 391"/>
                <a:gd name="T8" fmla="*/ 0 w 662"/>
                <a:gd name="T9" fmla="*/ 0 h 391"/>
                <a:gd name="T10" fmla="*/ 0 w 662"/>
                <a:gd name="T11" fmla="*/ 391 h 391"/>
              </a:gdLst>
              <a:ahLst/>
              <a:cxnLst>
                <a:cxn ang="0">
                  <a:pos x="T0" y="T1"/>
                </a:cxn>
                <a:cxn ang="0">
                  <a:pos x="T2" y="T3"/>
                </a:cxn>
                <a:cxn ang="0">
                  <a:pos x="T4" y="T5"/>
                </a:cxn>
                <a:cxn ang="0">
                  <a:pos x="T6" y="T7"/>
                </a:cxn>
                <a:cxn ang="0">
                  <a:pos x="T8" y="T9"/>
                </a:cxn>
                <a:cxn ang="0">
                  <a:pos x="T10" y="T11"/>
                </a:cxn>
              </a:cxnLst>
              <a:rect l="0" t="0" r="r" b="b"/>
              <a:pathLst>
                <a:path w="662" h="391">
                  <a:moveTo>
                    <a:pt x="0" y="391"/>
                  </a:moveTo>
                  <a:lnTo>
                    <a:pt x="662" y="391"/>
                  </a:lnTo>
                  <a:lnTo>
                    <a:pt x="662" y="0"/>
                  </a:lnTo>
                  <a:lnTo>
                    <a:pt x="331" y="239"/>
                  </a:lnTo>
                  <a:lnTo>
                    <a:pt x="0" y="0"/>
                  </a:lnTo>
                  <a:lnTo>
                    <a:pt x="0" y="39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8" name="Freeform 85"/>
            <p:cNvSpPr>
              <a:spLocks/>
            </p:cNvSpPr>
            <p:nvPr userDrawn="1"/>
          </p:nvSpPr>
          <p:spPr bwMode="auto">
            <a:xfrm flipH="1">
              <a:off x="3314701" y="3949700"/>
              <a:ext cx="1050925" cy="311150"/>
            </a:xfrm>
            <a:custGeom>
              <a:avLst/>
              <a:gdLst>
                <a:gd name="T0" fmla="*/ 0 w 662"/>
                <a:gd name="T1" fmla="*/ 196 h 196"/>
                <a:gd name="T2" fmla="*/ 662 w 662"/>
                <a:gd name="T3" fmla="*/ 196 h 196"/>
                <a:gd name="T4" fmla="*/ 391 w 662"/>
                <a:gd name="T5" fmla="*/ 0 h 196"/>
                <a:gd name="T6" fmla="*/ 271 w 662"/>
                <a:gd name="T7" fmla="*/ 0 h 196"/>
                <a:gd name="T8" fmla="*/ 271 w 662"/>
                <a:gd name="T9" fmla="*/ 0 h 196"/>
                <a:gd name="T10" fmla="*/ 0 w 662"/>
                <a:gd name="T11" fmla="*/ 196 h 196"/>
              </a:gdLst>
              <a:ahLst/>
              <a:cxnLst>
                <a:cxn ang="0">
                  <a:pos x="T0" y="T1"/>
                </a:cxn>
                <a:cxn ang="0">
                  <a:pos x="T2" y="T3"/>
                </a:cxn>
                <a:cxn ang="0">
                  <a:pos x="T4" y="T5"/>
                </a:cxn>
                <a:cxn ang="0">
                  <a:pos x="T6" y="T7"/>
                </a:cxn>
                <a:cxn ang="0">
                  <a:pos x="T8" y="T9"/>
                </a:cxn>
                <a:cxn ang="0">
                  <a:pos x="T10" y="T11"/>
                </a:cxn>
              </a:cxnLst>
              <a:rect l="0" t="0" r="r" b="b"/>
              <a:pathLst>
                <a:path w="662" h="196">
                  <a:moveTo>
                    <a:pt x="0" y="196"/>
                  </a:moveTo>
                  <a:lnTo>
                    <a:pt x="662" y="196"/>
                  </a:lnTo>
                  <a:lnTo>
                    <a:pt x="391" y="0"/>
                  </a:lnTo>
                  <a:lnTo>
                    <a:pt x="271" y="0"/>
                  </a:lnTo>
                  <a:lnTo>
                    <a:pt x="271" y="0"/>
                  </a:lnTo>
                  <a:lnTo>
                    <a:pt x="0" y="196"/>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9" name="Freeform 86"/>
            <p:cNvSpPr>
              <a:spLocks/>
            </p:cNvSpPr>
            <p:nvPr userDrawn="1"/>
          </p:nvSpPr>
          <p:spPr bwMode="auto">
            <a:xfrm flipH="1">
              <a:off x="4459288" y="1825625"/>
              <a:ext cx="628650" cy="485775"/>
            </a:xfrm>
            <a:custGeom>
              <a:avLst/>
              <a:gdLst>
                <a:gd name="T0" fmla="*/ 396 w 396"/>
                <a:gd name="T1" fmla="*/ 0 h 306"/>
                <a:gd name="T2" fmla="*/ 308 w 396"/>
                <a:gd name="T3" fmla="*/ 296 h 306"/>
                <a:gd name="T4" fmla="*/ 0 w 396"/>
                <a:gd name="T5" fmla="*/ 306 h 306"/>
                <a:gd name="T6" fmla="*/ 88 w 396"/>
                <a:gd name="T7" fmla="*/ 10 h 306"/>
                <a:gd name="T8" fmla="*/ 396 w 396"/>
                <a:gd name="T9" fmla="*/ 0 h 306"/>
              </a:gdLst>
              <a:ahLst/>
              <a:cxnLst>
                <a:cxn ang="0">
                  <a:pos x="T0" y="T1"/>
                </a:cxn>
                <a:cxn ang="0">
                  <a:pos x="T2" y="T3"/>
                </a:cxn>
                <a:cxn ang="0">
                  <a:pos x="T4" y="T5"/>
                </a:cxn>
                <a:cxn ang="0">
                  <a:pos x="T6" y="T7"/>
                </a:cxn>
                <a:cxn ang="0">
                  <a:pos x="T8" y="T9"/>
                </a:cxn>
              </a:cxnLst>
              <a:rect l="0" t="0" r="r" b="b"/>
              <a:pathLst>
                <a:path w="396" h="306">
                  <a:moveTo>
                    <a:pt x="396" y="0"/>
                  </a:moveTo>
                  <a:lnTo>
                    <a:pt x="308" y="296"/>
                  </a:lnTo>
                  <a:lnTo>
                    <a:pt x="0" y="306"/>
                  </a:lnTo>
                  <a:lnTo>
                    <a:pt x="88" y="10"/>
                  </a:lnTo>
                  <a:lnTo>
                    <a:pt x="396"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0" name="Freeform 87"/>
            <p:cNvSpPr>
              <a:spLocks/>
            </p:cNvSpPr>
            <p:nvPr userDrawn="1"/>
          </p:nvSpPr>
          <p:spPr bwMode="auto">
            <a:xfrm flipH="1">
              <a:off x="4257676" y="1704975"/>
              <a:ext cx="889000" cy="911225"/>
            </a:xfrm>
            <a:custGeom>
              <a:avLst/>
              <a:gdLst>
                <a:gd name="T0" fmla="*/ 271 w 560"/>
                <a:gd name="T1" fmla="*/ 574 h 574"/>
                <a:gd name="T2" fmla="*/ 560 w 560"/>
                <a:gd name="T3" fmla="*/ 352 h 574"/>
                <a:gd name="T4" fmla="*/ 288 w 560"/>
                <a:gd name="T5" fmla="*/ 0 h 574"/>
                <a:gd name="T6" fmla="*/ 0 w 560"/>
                <a:gd name="T7" fmla="*/ 222 h 574"/>
                <a:gd name="T8" fmla="*/ 271 w 560"/>
                <a:gd name="T9" fmla="*/ 574 h 574"/>
              </a:gdLst>
              <a:ahLst/>
              <a:cxnLst>
                <a:cxn ang="0">
                  <a:pos x="T0" y="T1"/>
                </a:cxn>
                <a:cxn ang="0">
                  <a:pos x="T2" y="T3"/>
                </a:cxn>
                <a:cxn ang="0">
                  <a:pos x="T4" y="T5"/>
                </a:cxn>
                <a:cxn ang="0">
                  <a:pos x="T6" y="T7"/>
                </a:cxn>
                <a:cxn ang="0">
                  <a:pos x="T8" y="T9"/>
                </a:cxn>
              </a:cxnLst>
              <a:rect l="0" t="0" r="r" b="b"/>
              <a:pathLst>
                <a:path w="560" h="574">
                  <a:moveTo>
                    <a:pt x="271" y="574"/>
                  </a:moveTo>
                  <a:lnTo>
                    <a:pt x="560" y="352"/>
                  </a:lnTo>
                  <a:lnTo>
                    <a:pt x="288" y="0"/>
                  </a:lnTo>
                  <a:lnTo>
                    <a:pt x="0" y="222"/>
                  </a:lnTo>
                  <a:lnTo>
                    <a:pt x="271" y="574"/>
                  </a:lnTo>
                  <a:close/>
                </a:path>
              </a:pathLst>
            </a:custGeom>
            <a:solidFill>
              <a:srgbClr val="FFFD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 name="Freeform 88"/>
            <p:cNvSpPr>
              <a:spLocks/>
            </p:cNvSpPr>
            <p:nvPr userDrawn="1"/>
          </p:nvSpPr>
          <p:spPr bwMode="auto">
            <a:xfrm flipH="1">
              <a:off x="4865688" y="1978025"/>
              <a:ext cx="150813" cy="127000"/>
            </a:xfrm>
            <a:custGeom>
              <a:avLst/>
              <a:gdLst>
                <a:gd name="T0" fmla="*/ 13 w 95"/>
                <a:gd name="T1" fmla="*/ 80 h 80"/>
                <a:gd name="T2" fmla="*/ 95 w 95"/>
                <a:gd name="T3" fmla="*/ 17 h 80"/>
                <a:gd name="T4" fmla="*/ 82 w 95"/>
                <a:gd name="T5" fmla="*/ 0 h 80"/>
                <a:gd name="T6" fmla="*/ 0 w 95"/>
                <a:gd name="T7" fmla="*/ 64 h 80"/>
                <a:gd name="T8" fmla="*/ 13 w 95"/>
                <a:gd name="T9" fmla="*/ 80 h 80"/>
              </a:gdLst>
              <a:ahLst/>
              <a:cxnLst>
                <a:cxn ang="0">
                  <a:pos x="T0" y="T1"/>
                </a:cxn>
                <a:cxn ang="0">
                  <a:pos x="T2" y="T3"/>
                </a:cxn>
                <a:cxn ang="0">
                  <a:pos x="T4" y="T5"/>
                </a:cxn>
                <a:cxn ang="0">
                  <a:pos x="T6" y="T7"/>
                </a:cxn>
                <a:cxn ang="0">
                  <a:pos x="T8" y="T9"/>
                </a:cxn>
              </a:cxnLst>
              <a:rect l="0" t="0" r="r" b="b"/>
              <a:pathLst>
                <a:path w="95" h="80">
                  <a:moveTo>
                    <a:pt x="13" y="80"/>
                  </a:moveTo>
                  <a:lnTo>
                    <a:pt x="95" y="17"/>
                  </a:lnTo>
                  <a:lnTo>
                    <a:pt x="82" y="0"/>
                  </a:lnTo>
                  <a:lnTo>
                    <a:pt x="0" y="64"/>
                  </a:lnTo>
                  <a:lnTo>
                    <a:pt x="13" y="8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2" name="Freeform 89"/>
            <p:cNvSpPr>
              <a:spLocks/>
            </p:cNvSpPr>
            <p:nvPr userDrawn="1"/>
          </p:nvSpPr>
          <p:spPr bwMode="auto">
            <a:xfrm flipH="1">
              <a:off x="4640263" y="1887538"/>
              <a:ext cx="338138" cy="269875"/>
            </a:xfrm>
            <a:custGeom>
              <a:avLst/>
              <a:gdLst>
                <a:gd name="T0" fmla="*/ 13 w 213"/>
                <a:gd name="T1" fmla="*/ 170 h 170"/>
                <a:gd name="T2" fmla="*/ 213 w 213"/>
                <a:gd name="T3" fmla="*/ 16 h 170"/>
                <a:gd name="T4" fmla="*/ 200 w 213"/>
                <a:gd name="T5" fmla="*/ 0 h 170"/>
                <a:gd name="T6" fmla="*/ 0 w 213"/>
                <a:gd name="T7" fmla="*/ 154 h 170"/>
                <a:gd name="T8" fmla="*/ 13 w 213"/>
                <a:gd name="T9" fmla="*/ 170 h 170"/>
              </a:gdLst>
              <a:ahLst/>
              <a:cxnLst>
                <a:cxn ang="0">
                  <a:pos x="T0" y="T1"/>
                </a:cxn>
                <a:cxn ang="0">
                  <a:pos x="T2" y="T3"/>
                </a:cxn>
                <a:cxn ang="0">
                  <a:pos x="T4" y="T5"/>
                </a:cxn>
                <a:cxn ang="0">
                  <a:pos x="T6" y="T7"/>
                </a:cxn>
                <a:cxn ang="0">
                  <a:pos x="T8" y="T9"/>
                </a:cxn>
              </a:cxnLst>
              <a:rect l="0" t="0" r="r" b="b"/>
              <a:pathLst>
                <a:path w="213" h="170">
                  <a:moveTo>
                    <a:pt x="13" y="170"/>
                  </a:moveTo>
                  <a:lnTo>
                    <a:pt x="213" y="16"/>
                  </a:lnTo>
                  <a:lnTo>
                    <a:pt x="200" y="0"/>
                  </a:lnTo>
                  <a:lnTo>
                    <a:pt x="0" y="154"/>
                  </a:lnTo>
                  <a:lnTo>
                    <a:pt x="13" y="17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3" name="Freeform 90"/>
            <p:cNvSpPr>
              <a:spLocks/>
            </p:cNvSpPr>
            <p:nvPr userDrawn="1"/>
          </p:nvSpPr>
          <p:spPr bwMode="auto">
            <a:xfrm flipH="1">
              <a:off x="4602163" y="1936750"/>
              <a:ext cx="338138" cy="269875"/>
            </a:xfrm>
            <a:custGeom>
              <a:avLst/>
              <a:gdLst>
                <a:gd name="T0" fmla="*/ 13 w 213"/>
                <a:gd name="T1" fmla="*/ 170 h 170"/>
                <a:gd name="T2" fmla="*/ 213 w 213"/>
                <a:gd name="T3" fmla="*/ 16 h 170"/>
                <a:gd name="T4" fmla="*/ 200 w 213"/>
                <a:gd name="T5" fmla="*/ 0 h 170"/>
                <a:gd name="T6" fmla="*/ 0 w 213"/>
                <a:gd name="T7" fmla="*/ 154 h 170"/>
                <a:gd name="T8" fmla="*/ 13 w 213"/>
                <a:gd name="T9" fmla="*/ 170 h 170"/>
              </a:gdLst>
              <a:ahLst/>
              <a:cxnLst>
                <a:cxn ang="0">
                  <a:pos x="T0" y="T1"/>
                </a:cxn>
                <a:cxn ang="0">
                  <a:pos x="T2" y="T3"/>
                </a:cxn>
                <a:cxn ang="0">
                  <a:pos x="T4" y="T5"/>
                </a:cxn>
                <a:cxn ang="0">
                  <a:pos x="T6" y="T7"/>
                </a:cxn>
                <a:cxn ang="0">
                  <a:pos x="T8" y="T9"/>
                </a:cxn>
              </a:cxnLst>
              <a:rect l="0" t="0" r="r" b="b"/>
              <a:pathLst>
                <a:path w="213" h="170">
                  <a:moveTo>
                    <a:pt x="13" y="170"/>
                  </a:moveTo>
                  <a:lnTo>
                    <a:pt x="213" y="16"/>
                  </a:lnTo>
                  <a:lnTo>
                    <a:pt x="200" y="0"/>
                  </a:lnTo>
                  <a:lnTo>
                    <a:pt x="0" y="154"/>
                  </a:lnTo>
                  <a:lnTo>
                    <a:pt x="13" y="17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 name="Freeform 91"/>
            <p:cNvSpPr>
              <a:spLocks/>
            </p:cNvSpPr>
            <p:nvPr userDrawn="1"/>
          </p:nvSpPr>
          <p:spPr bwMode="auto">
            <a:xfrm flipH="1">
              <a:off x="4565651" y="1984375"/>
              <a:ext cx="336550" cy="271463"/>
            </a:xfrm>
            <a:custGeom>
              <a:avLst/>
              <a:gdLst>
                <a:gd name="T0" fmla="*/ 13 w 212"/>
                <a:gd name="T1" fmla="*/ 171 h 171"/>
                <a:gd name="T2" fmla="*/ 212 w 212"/>
                <a:gd name="T3" fmla="*/ 17 h 171"/>
                <a:gd name="T4" fmla="*/ 200 w 212"/>
                <a:gd name="T5" fmla="*/ 0 h 171"/>
                <a:gd name="T6" fmla="*/ 0 w 212"/>
                <a:gd name="T7" fmla="*/ 154 h 171"/>
                <a:gd name="T8" fmla="*/ 13 w 212"/>
                <a:gd name="T9" fmla="*/ 171 h 171"/>
              </a:gdLst>
              <a:ahLst/>
              <a:cxnLst>
                <a:cxn ang="0">
                  <a:pos x="T0" y="T1"/>
                </a:cxn>
                <a:cxn ang="0">
                  <a:pos x="T2" y="T3"/>
                </a:cxn>
                <a:cxn ang="0">
                  <a:pos x="T4" y="T5"/>
                </a:cxn>
                <a:cxn ang="0">
                  <a:pos x="T6" y="T7"/>
                </a:cxn>
                <a:cxn ang="0">
                  <a:pos x="T8" y="T9"/>
                </a:cxn>
              </a:cxnLst>
              <a:rect l="0" t="0" r="r" b="b"/>
              <a:pathLst>
                <a:path w="212" h="171">
                  <a:moveTo>
                    <a:pt x="13" y="171"/>
                  </a:moveTo>
                  <a:lnTo>
                    <a:pt x="212" y="17"/>
                  </a:lnTo>
                  <a:lnTo>
                    <a:pt x="200" y="0"/>
                  </a:lnTo>
                  <a:lnTo>
                    <a:pt x="0" y="154"/>
                  </a:lnTo>
                  <a:lnTo>
                    <a:pt x="13" y="171"/>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5" name="Freeform 92"/>
            <p:cNvSpPr>
              <a:spLocks/>
            </p:cNvSpPr>
            <p:nvPr userDrawn="1"/>
          </p:nvSpPr>
          <p:spPr bwMode="auto">
            <a:xfrm flipH="1">
              <a:off x="4527551" y="2033588"/>
              <a:ext cx="336550" cy="271463"/>
            </a:xfrm>
            <a:custGeom>
              <a:avLst/>
              <a:gdLst>
                <a:gd name="T0" fmla="*/ 12 w 212"/>
                <a:gd name="T1" fmla="*/ 171 h 171"/>
                <a:gd name="T2" fmla="*/ 212 w 212"/>
                <a:gd name="T3" fmla="*/ 17 h 171"/>
                <a:gd name="T4" fmla="*/ 199 w 212"/>
                <a:gd name="T5" fmla="*/ 0 h 171"/>
                <a:gd name="T6" fmla="*/ 0 w 212"/>
                <a:gd name="T7" fmla="*/ 154 h 171"/>
                <a:gd name="T8" fmla="*/ 12 w 212"/>
                <a:gd name="T9" fmla="*/ 171 h 171"/>
              </a:gdLst>
              <a:ahLst/>
              <a:cxnLst>
                <a:cxn ang="0">
                  <a:pos x="T0" y="T1"/>
                </a:cxn>
                <a:cxn ang="0">
                  <a:pos x="T2" y="T3"/>
                </a:cxn>
                <a:cxn ang="0">
                  <a:pos x="T4" y="T5"/>
                </a:cxn>
                <a:cxn ang="0">
                  <a:pos x="T6" y="T7"/>
                </a:cxn>
                <a:cxn ang="0">
                  <a:pos x="T8" y="T9"/>
                </a:cxn>
              </a:cxnLst>
              <a:rect l="0" t="0" r="r" b="b"/>
              <a:pathLst>
                <a:path w="212" h="171">
                  <a:moveTo>
                    <a:pt x="12" y="171"/>
                  </a:moveTo>
                  <a:lnTo>
                    <a:pt x="212" y="17"/>
                  </a:lnTo>
                  <a:lnTo>
                    <a:pt x="199" y="0"/>
                  </a:lnTo>
                  <a:lnTo>
                    <a:pt x="0" y="154"/>
                  </a:lnTo>
                  <a:lnTo>
                    <a:pt x="12" y="171"/>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6" name="Freeform 93"/>
            <p:cNvSpPr>
              <a:spLocks/>
            </p:cNvSpPr>
            <p:nvPr userDrawn="1"/>
          </p:nvSpPr>
          <p:spPr bwMode="auto">
            <a:xfrm flipH="1">
              <a:off x="4489450" y="2082800"/>
              <a:ext cx="338138" cy="271463"/>
            </a:xfrm>
            <a:custGeom>
              <a:avLst/>
              <a:gdLst>
                <a:gd name="T0" fmla="*/ 13 w 213"/>
                <a:gd name="T1" fmla="*/ 171 h 171"/>
                <a:gd name="T2" fmla="*/ 213 w 213"/>
                <a:gd name="T3" fmla="*/ 17 h 171"/>
                <a:gd name="T4" fmla="*/ 200 w 213"/>
                <a:gd name="T5" fmla="*/ 0 h 171"/>
                <a:gd name="T6" fmla="*/ 0 w 213"/>
                <a:gd name="T7" fmla="*/ 154 h 171"/>
                <a:gd name="T8" fmla="*/ 13 w 213"/>
                <a:gd name="T9" fmla="*/ 171 h 171"/>
              </a:gdLst>
              <a:ahLst/>
              <a:cxnLst>
                <a:cxn ang="0">
                  <a:pos x="T0" y="T1"/>
                </a:cxn>
                <a:cxn ang="0">
                  <a:pos x="T2" y="T3"/>
                </a:cxn>
                <a:cxn ang="0">
                  <a:pos x="T4" y="T5"/>
                </a:cxn>
                <a:cxn ang="0">
                  <a:pos x="T6" y="T7"/>
                </a:cxn>
                <a:cxn ang="0">
                  <a:pos x="T8" y="T9"/>
                </a:cxn>
              </a:cxnLst>
              <a:rect l="0" t="0" r="r" b="b"/>
              <a:pathLst>
                <a:path w="213" h="171">
                  <a:moveTo>
                    <a:pt x="13" y="171"/>
                  </a:moveTo>
                  <a:lnTo>
                    <a:pt x="213" y="17"/>
                  </a:lnTo>
                  <a:lnTo>
                    <a:pt x="200" y="0"/>
                  </a:lnTo>
                  <a:lnTo>
                    <a:pt x="0" y="154"/>
                  </a:lnTo>
                  <a:lnTo>
                    <a:pt x="13" y="171"/>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7" name="Freeform 94"/>
            <p:cNvSpPr>
              <a:spLocks/>
            </p:cNvSpPr>
            <p:nvPr userDrawn="1"/>
          </p:nvSpPr>
          <p:spPr bwMode="auto">
            <a:xfrm flipH="1">
              <a:off x="4451350" y="2132013"/>
              <a:ext cx="338138" cy="271463"/>
            </a:xfrm>
            <a:custGeom>
              <a:avLst/>
              <a:gdLst>
                <a:gd name="T0" fmla="*/ 13 w 213"/>
                <a:gd name="T1" fmla="*/ 171 h 171"/>
                <a:gd name="T2" fmla="*/ 213 w 213"/>
                <a:gd name="T3" fmla="*/ 17 h 171"/>
                <a:gd name="T4" fmla="*/ 200 w 213"/>
                <a:gd name="T5" fmla="*/ 0 h 171"/>
                <a:gd name="T6" fmla="*/ 0 w 213"/>
                <a:gd name="T7" fmla="*/ 154 h 171"/>
                <a:gd name="T8" fmla="*/ 13 w 213"/>
                <a:gd name="T9" fmla="*/ 171 h 171"/>
              </a:gdLst>
              <a:ahLst/>
              <a:cxnLst>
                <a:cxn ang="0">
                  <a:pos x="T0" y="T1"/>
                </a:cxn>
                <a:cxn ang="0">
                  <a:pos x="T2" y="T3"/>
                </a:cxn>
                <a:cxn ang="0">
                  <a:pos x="T4" y="T5"/>
                </a:cxn>
                <a:cxn ang="0">
                  <a:pos x="T6" y="T7"/>
                </a:cxn>
                <a:cxn ang="0">
                  <a:pos x="T8" y="T9"/>
                </a:cxn>
              </a:cxnLst>
              <a:rect l="0" t="0" r="r" b="b"/>
              <a:pathLst>
                <a:path w="213" h="171">
                  <a:moveTo>
                    <a:pt x="13" y="171"/>
                  </a:moveTo>
                  <a:lnTo>
                    <a:pt x="213" y="17"/>
                  </a:lnTo>
                  <a:lnTo>
                    <a:pt x="200" y="0"/>
                  </a:lnTo>
                  <a:lnTo>
                    <a:pt x="0" y="154"/>
                  </a:lnTo>
                  <a:lnTo>
                    <a:pt x="13" y="171"/>
                  </a:lnTo>
                  <a:close/>
                </a:path>
              </a:pathLst>
            </a:custGeom>
            <a:solidFill>
              <a:srgbClr val="FFD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8" name="Freeform 95"/>
            <p:cNvSpPr>
              <a:spLocks/>
            </p:cNvSpPr>
            <p:nvPr userDrawn="1"/>
          </p:nvSpPr>
          <p:spPr bwMode="auto">
            <a:xfrm flipH="1">
              <a:off x="4171950" y="1825625"/>
              <a:ext cx="915988" cy="857250"/>
            </a:xfrm>
            <a:custGeom>
              <a:avLst/>
              <a:gdLst>
                <a:gd name="T0" fmla="*/ 180 w 577"/>
                <a:gd name="T1" fmla="*/ 540 h 540"/>
                <a:gd name="T2" fmla="*/ 577 w 577"/>
                <a:gd name="T3" fmla="*/ 235 h 540"/>
                <a:gd name="T4" fmla="*/ 396 w 577"/>
                <a:gd name="T5" fmla="*/ 0 h 540"/>
                <a:gd name="T6" fmla="*/ 308 w 577"/>
                <a:gd name="T7" fmla="*/ 296 h 540"/>
                <a:gd name="T8" fmla="*/ 0 w 577"/>
                <a:gd name="T9" fmla="*/ 306 h 540"/>
                <a:gd name="T10" fmla="*/ 180 w 577"/>
                <a:gd name="T11" fmla="*/ 540 h 540"/>
              </a:gdLst>
              <a:ahLst/>
              <a:cxnLst>
                <a:cxn ang="0">
                  <a:pos x="T0" y="T1"/>
                </a:cxn>
                <a:cxn ang="0">
                  <a:pos x="T2" y="T3"/>
                </a:cxn>
                <a:cxn ang="0">
                  <a:pos x="T4" y="T5"/>
                </a:cxn>
                <a:cxn ang="0">
                  <a:pos x="T6" y="T7"/>
                </a:cxn>
                <a:cxn ang="0">
                  <a:pos x="T8" y="T9"/>
                </a:cxn>
                <a:cxn ang="0">
                  <a:pos x="T10" y="T11"/>
                </a:cxn>
              </a:cxnLst>
              <a:rect l="0" t="0" r="r" b="b"/>
              <a:pathLst>
                <a:path w="577" h="540">
                  <a:moveTo>
                    <a:pt x="180" y="540"/>
                  </a:moveTo>
                  <a:lnTo>
                    <a:pt x="577" y="235"/>
                  </a:lnTo>
                  <a:lnTo>
                    <a:pt x="396" y="0"/>
                  </a:lnTo>
                  <a:lnTo>
                    <a:pt x="308" y="296"/>
                  </a:lnTo>
                  <a:lnTo>
                    <a:pt x="0" y="306"/>
                  </a:lnTo>
                  <a:lnTo>
                    <a:pt x="180" y="54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9" name="Freeform 96"/>
            <p:cNvSpPr>
              <a:spLocks/>
            </p:cNvSpPr>
            <p:nvPr userDrawn="1"/>
          </p:nvSpPr>
          <p:spPr bwMode="auto">
            <a:xfrm flipH="1">
              <a:off x="4171950" y="2198688"/>
              <a:ext cx="630238" cy="484188"/>
            </a:xfrm>
            <a:custGeom>
              <a:avLst/>
              <a:gdLst>
                <a:gd name="T0" fmla="*/ 0 w 397"/>
                <a:gd name="T1" fmla="*/ 305 h 305"/>
                <a:gd name="T2" fmla="*/ 397 w 397"/>
                <a:gd name="T3" fmla="*/ 0 h 305"/>
                <a:gd name="T4" fmla="*/ 144 w 397"/>
                <a:gd name="T5" fmla="*/ 7 h 305"/>
                <a:gd name="T6" fmla="*/ 72 w 397"/>
                <a:gd name="T7" fmla="*/ 63 h 305"/>
                <a:gd name="T8" fmla="*/ 0 w 397"/>
                <a:gd name="T9" fmla="*/ 305 h 305"/>
              </a:gdLst>
              <a:ahLst/>
              <a:cxnLst>
                <a:cxn ang="0">
                  <a:pos x="T0" y="T1"/>
                </a:cxn>
                <a:cxn ang="0">
                  <a:pos x="T2" y="T3"/>
                </a:cxn>
                <a:cxn ang="0">
                  <a:pos x="T4" y="T5"/>
                </a:cxn>
                <a:cxn ang="0">
                  <a:pos x="T6" y="T7"/>
                </a:cxn>
                <a:cxn ang="0">
                  <a:pos x="T8" y="T9"/>
                </a:cxn>
              </a:cxnLst>
              <a:rect l="0" t="0" r="r" b="b"/>
              <a:pathLst>
                <a:path w="397" h="305">
                  <a:moveTo>
                    <a:pt x="0" y="305"/>
                  </a:moveTo>
                  <a:lnTo>
                    <a:pt x="397" y="0"/>
                  </a:lnTo>
                  <a:lnTo>
                    <a:pt x="144" y="7"/>
                  </a:lnTo>
                  <a:lnTo>
                    <a:pt x="72" y="63"/>
                  </a:lnTo>
                  <a:lnTo>
                    <a:pt x="0" y="305"/>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grpSp>
      <p:sp>
        <p:nvSpPr>
          <p:cNvPr id="13" name="标题 1"/>
          <p:cNvSpPr>
            <a:spLocks noGrp="1"/>
          </p:cNvSpPr>
          <p:nvPr userDrawn="1">
            <p:ph type="ctrTitle" hasCustomPrompt="1"/>
          </p:nvPr>
        </p:nvSpPr>
        <p:spPr>
          <a:xfrm>
            <a:off x="6284911" y="1939926"/>
            <a:ext cx="5162552"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284911" y="4246162"/>
            <a:ext cx="5162552" cy="310871"/>
          </a:xfrm>
        </p:spPr>
        <p:txBody>
          <a:bodyPr vert="horz" lIns="91440" tIns="45720" rIns="91440" bIns="45720" rtlCol="0">
            <a:normAutofit/>
          </a:bodyPr>
          <a:lstStyle>
            <a:lvl1pPr marL="0" indent="0" algn="l">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6284912" y="3949891"/>
            <a:ext cx="5162552"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0/12/20</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5.xml"/></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a:xfrm>
            <a:off x="1378978" y="4291276"/>
            <a:ext cx="4961497" cy="558799"/>
          </a:xfrm>
        </p:spPr>
        <p:txBody>
          <a:bodyPr/>
          <a:lstStyle/>
          <a:p>
            <a:r>
              <a:rPr lang="zh-CN" altLang="en-US" dirty="0"/>
              <a:t>刘嘉伟</a:t>
            </a:r>
            <a:endParaRPr lang="en-US" altLang="zh-CN" dirty="0"/>
          </a:p>
        </p:txBody>
      </p:sp>
      <p:sp>
        <p:nvSpPr>
          <p:cNvPr id="4" name="标题 3"/>
          <p:cNvSpPr>
            <a:spLocks noGrp="1"/>
          </p:cNvSpPr>
          <p:nvPr>
            <p:ph type="ctrTitle"/>
          </p:nvPr>
        </p:nvSpPr>
        <p:spPr>
          <a:xfrm>
            <a:off x="1378978" y="1944689"/>
            <a:ext cx="4961497" cy="1413974"/>
          </a:xfrm>
        </p:spPr>
        <p:txBody>
          <a:bodyPr>
            <a:normAutofit/>
          </a:bodyPr>
          <a:lstStyle/>
          <a:p>
            <a:r>
              <a:rPr lang="zh-CN" altLang="en-US" dirty="0"/>
              <a:t>大数据课程</a:t>
            </a:r>
            <a:br>
              <a:rPr lang="en-US" altLang="zh-CN" dirty="0"/>
            </a:br>
            <a:r>
              <a:rPr lang="zh-CN" altLang="en-US" dirty="0"/>
              <a:t>设计报告</a:t>
            </a:r>
          </a:p>
        </p:txBody>
      </p:sp>
      <p:sp>
        <p:nvSpPr>
          <p:cNvPr id="11" name="文本占位符 10">
            <a:extLst>
              <a:ext uri="{FF2B5EF4-FFF2-40B4-BE49-F238E27FC236}">
                <a16:creationId xmlns:a16="http://schemas.microsoft.com/office/drawing/2014/main" id="{15655783-6A46-49F2-B3AE-43261BA2EC2F}"/>
              </a:ext>
            </a:extLst>
          </p:cNvPr>
          <p:cNvSpPr>
            <a:spLocks noGrp="1"/>
          </p:cNvSpPr>
          <p:nvPr>
            <p:ph type="body" sz="quarter" idx="11"/>
          </p:nvPr>
        </p:nvSpPr>
        <p:spPr>
          <a:xfrm>
            <a:off x="1378978" y="4850075"/>
            <a:ext cx="4961497" cy="296271"/>
          </a:xfrm>
        </p:spPr>
        <p:txBody>
          <a:bodyPr/>
          <a:lstStyle/>
          <a:p>
            <a:r>
              <a:rPr lang="en-US" altLang="zh-CN" dirty="0"/>
              <a:t>2018213106</a:t>
            </a:r>
            <a:endParaRPr lang="zh-CN" altLang="en-US" dirty="0"/>
          </a:p>
        </p:txBody>
      </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7807448-8C16-4EAD-88EF-0C3695D128BF}"/>
              </a:ext>
            </a:extLst>
          </p:cNvPr>
          <p:cNvSpPr>
            <a:spLocks noGrp="1"/>
          </p:cNvSpPr>
          <p:nvPr>
            <p:ph type="title"/>
          </p:nvPr>
        </p:nvSpPr>
        <p:spPr/>
        <p:txBody>
          <a:bodyPr/>
          <a:lstStyle/>
          <a:p>
            <a:r>
              <a:rPr lang="en-US" altLang="zh-CN" dirty="0"/>
              <a:t>Kafka</a:t>
            </a:r>
            <a:endParaRPr lang="zh-CN" altLang="en-US" dirty="0"/>
          </a:p>
        </p:txBody>
      </p:sp>
      <p:pic>
        <p:nvPicPr>
          <p:cNvPr id="5" name="图片 4">
            <a:extLst>
              <a:ext uri="{FF2B5EF4-FFF2-40B4-BE49-F238E27FC236}">
                <a16:creationId xmlns:a16="http://schemas.microsoft.com/office/drawing/2014/main" id="{2C2944E7-F4F6-46F2-8A45-22D6D2E6AEE7}"/>
              </a:ext>
            </a:extLst>
          </p:cNvPr>
          <p:cNvPicPr>
            <a:picLocks noChangeAspect="1"/>
          </p:cNvPicPr>
          <p:nvPr/>
        </p:nvPicPr>
        <p:blipFill>
          <a:blip r:embed="rId2"/>
          <a:stretch>
            <a:fillRect/>
          </a:stretch>
        </p:blipFill>
        <p:spPr>
          <a:xfrm>
            <a:off x="544335" y="1302235"/>
            <a:ext cx="4391378" cy="1780613"/>
          </a:xfrm>
          <a:prstGeom prst="rect">
            <a:avLst/>
          </a:prstGeom>
        </p:spPr>
      </p:pic>
      <p:pic>
        <p:nvPicPr>
          <p:cNvPr id="7" name="图片 6">
            <a:extLst>
              <a:ext uri="{FF2B5EF4-FFF2-40B4-BE49-F238E27FC236}">
                <a16:creationId xmlns:a16="http://schemas.microsoft.com/office/drawing/2014/main" id="{A7939B6A-2646-4BC4-9155-B725CE853BA4}"/>
              </a:ext>
            </a:extLst>
          </p:cNvPr>
          <p:cNvPicPr>
            <a:picLocks noChangeAspect="1"/>
          </p:cNvPicPr>
          <p:nvPr/>
        </p:nvPicPr>
        <p:blipFill>
          <a:blip r:embed="rId3"/>
          <a:stretch>
            <a:fillRect/>
          </a:stretch>
        </p:blipFill>
        <p:spPr>
          <a:xfrm>
            <a:off x="669924" y="3429000"/>
            <a:ext cx="4265789" cy="2324100"/>
          </a:xfrm>
          <a:prstGeom prst="rect">
            <a:avLst/>
          </a:prstGeom>
        </p:spPr>
      </p:pic>
      <p:sp>
        <p:nvSpPr>
          <p:cNvPr id="9" name="文本框 8">
            <a:extLst>
              <a:ext uri="{FF2B5EF4-FFF2-40B4-BE49-F238E27FC236}">
                <a16:creationId xmlns:a16="http://schemas.microsoft.com/office/drawing/2014/main" id="{69801A1D-DACF-4F57-9C8A-8F459B032F13}"/>
              </a:ext>
            </a:extLst>
          </p:cNvPr>
          <p:cNvSpPr txBox="1"/>
          <p:nvPr/>
        </p:nvSpPr>
        <p:spPr>
          <a:xfrm>
            <a:off x="5106131" y="1522037"/>
            <a:ext cx="6097464" cy="3780522"/>
          </a:xfrm>
          <a:prstGeom prst="rect">
            <a:avLst/>
          </a:prstGeom>
          <a:noFill/>
        </p:spPr>
        <p:txBody>
          <a:bodyPr wrap="square">
            <a:spAutoFit/>
          </a:bodyPr>
          <a:lstStyle/>
          <a:p>
            <a:pPr>
              <a:lnSpc>
                <a:spcPct val="150000"/>
              </a:lnSpc>
            </a:pPr>
            <a:r>
              <a:rPr lang="en-US" altLang="zh-CN" dirty="0"/>
              <a:t>Kafka </a:t>
            </a:r>
            <a:r>
              <a:rPr lang="zh-CN" altLang="en-US" dirty="0"/>
              <a:t>是一个高吞吐量的分布式发布</a:t>
            </a:r>
            <a:r>
              <a:rPr lang="en-US" altLang="zh-CN" dirty="0"/>
              <a:t>-</a:t>
            </a:r>
            <a:r>
              <a:rPr lang="zh-CN" altLang="en-US" dirty="0"/>
              <a:t>订阅消息系统。企业中一般使用</a:t>
            </a:r>
            <a:r>
              <a:rPr lang="en-US" altLang="zh-CN" dirty="0"/>
              <a:t>Kafka </a:t>
            </a:r>
            <a:r>
              <a:rPr lang="zh-CN" altLang="en-US" dirty="0"/>
              <a:t>做消息中间件，做缓冲缓存处理。需要 </a:t>
            </a:r>
            <a:r>
              <a:rPr lang="en-US" altLang="zh-CN" dirty="0"/>
              <a:t>zookeeper </a:t>
            </a:r>
            <a:r>
              <a:rPr lang="zh-CN" altLang="en-US" dirty="0"/>
              <a:t>分布式协调组件管理。</a:t>
            </a:r>
            <a:endParaRPr lang="en-US" altLang="zh-CN" dirty="0"/>
          </a:p>
          <a:p>
            <a:pPr>
              <a:lnSpc>
                <a:spcPct val="150000"/>
              </a:lnSpc>
            </a:pPr>
            <a:endParaRPr lang="en-US" altLang="zh-CN" dirty="0"/>
          </a:p>
          <a:p>
            <a:pPr>
              <a:lnSpc>
                <a:spcPct val="150000"/>
              </a:lnSpc>
            </a:pPr>
            <a:endParaRPr lang="en-US" altLang="zh-CN" dirty="0"/>
          </a:p>
          <a:p>
            <a:pPr>
              <a:lnSpc>
                <a:spcPct val="150000"/>
              </a:lnSpc>
            </a:pPr>
            <a:r>
              <a:rPr lang="zh-CN" altLang="en-US" dirty="0"/>
              <a:t>在本实验中，</a:t>
            </a:r>
            <a:r>
              <a:rPr lang="en-US" altLang="zh-CN" dirty="0"/>
              <a:t>Kafka</a:t>
            </a:r>
            <a:r>
              <a:rPr lang="zh-CN" altLang="en-US" dirty="0"/>
              <a:t>的消息发布者就是前面的</a:t>
            </a:r>
            <a:r>
              <a:rPr lang="en-US" altLang="zh-CN" dirty="0"/>
              <a:t>Flume</a:t>
            </a:r>
            <a:r>
              <a:rPr lang="zh-CN" altLang="en-US" dirty="0"/>
              <a:t>集群，消息接收者是后面的</a:t>
            </a:r>
            <a:r>
              <a:rPr lang="en-US" altLang="zh-CN" dirty="0" err="1"/>
              <a:t>Flink</a:t>
            </a:r>
            <a:r>
              <a:rPr lang="zh-CN" altLang="en-US" dirty="0"/>
              <a:t>处理框架。</a:t>
            </a:r>
            <a:r>
              <a:rPr lang="en-US" altLang="zh-CN" dirty="0"/>
              <a:t>Flume</a:t>
            </a:r>
            <a:r>
              <a:rPr lang="zh-CN" altLang="en-US" dirty="0"/>
              <a:t>采集的数据存入</a:t>
            </a:r>
            <a:r>
              <a:rPr lang="en-US" altLang="zh-CN" dirty="0"/>
              <a:t>Kafka</a:t>
            </a:r>
            <a:r>
              <a:rPr lang="zh-CN" altLang="en-US" dirty="0"/>
              <a:t>消息队列进行缓存，</a:t>
            </a:r>
            <a:r>
              <a:rPr lang="en-US" altLang="zh-CN" dirty="0" err="1"/>
              <a:t>Flink</a:t>
            </a:r>
            <a:r>
              <a:rPr lang="zh-CN" altLang="en-US" dirty="0"/>
              <a:t>需要的时候再从队列中进行消息提取。</a:t>
            </a:r>
            <a:endParaRPr lang="en-US" altLang="zh-CN" dirty="0"/>
          </a:p>
        </p:txBody>
      </p:sp>
    </p:spTree>
    <p:extLst>
      <p:ext uri="{BB962C8B-B14F-4D97-AF65-F5344CB8AC3E}">
        <p14:creationId xmlns:p14="http://schemas.microsoft.com/office/powerpoint/2010/main" val="7832968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216595D-A69B-4C32-BF5A-B2B20A134B94}"/>
              </a:ext>
            </a:extLst>
          </p:cNvPr>
          <p:cNvSpPr>
            <a:spLocks noGrp="1"/>
          </p:cNvSpPr>
          <p:nvPr>
            <p:ph type="title"/>
          </p:nvPr>
        </p:nvSpPr>
        <p:spPr/>
        <p:txBody>
          <a:bodyPr/>
          <a:lstStyle/>
          <a:p>
            <a:r>
              <a:rPr lang="en-US" altLang="zh-CN" dirty="0" err="1"/>
              <a:t>Flink</a:t>
            </a:r>
            <a:endParaRPr lang="zh-CN" altLang="en-US" dirty="0"/>
          </a:p>
        </p:txBody>
      </p:sp>
      <p:pic>
        <p:nvPicPr>
          <p:cNvPr id="5" name="图片 4">
            <a:extLst>
              <a:ext uri="{FF2B5EF4-FFF2-40B4-BE49-F238E27FC236}">
                <a16:creationId xmlns:a16="http://schemas.microsoft.com/office/drawing/2014/main" id="{060B7DC1-F109-416E-A9F2-078237DECC35}"/>
              </a:ext>
            </a:extLst>
          </p:cNvPr>
          <p:cNvPicPr>
            <a:picLocks noChangeAspect="1"/>
          </p:cNvPicPr>
          <p:nvPr/>
        </p:nvPicPr>
        <p:blipFill>
          <a:blip r:embed="rId2"/>
          <a:stretch>
            <a:fillRect/>
          </a:stretch>
        </p:blipFill>
        <p:spPr>
          <a:xfrm>
            <a:off x="938942" y="1381961"/>
            <a:ext cx="2967161" cy="1501747"/>
          </a:xfrm>
          <a:prstGeom prst="rect">
            <a:avLst/>
          </a:prstGeom>
        </p:spPr>
      </p:pic>
      <p:sp>
        <p:nvSpPr>
          <p:cNvPr id="7" name="文本框 6">
            <a:extLst>
              <a:ext uri="{FF2B5EF4-FFF2-40B4-BE49-F238E27FC236}">
                <a16:creationId xmlns:a16="http://schemas.microsoft.com/office/drawing/2014/main" id="{168D1E21-EF03-438F-9500-234328A910D2}"/>
              </a:ext>
            </a:extLst>
          </p:cNvPr>
          <p:cNvSpPr txBox="1"/>
          <p:nvPr/>
        </p:nvSpPr>
        <p:spPr>
          <a:xfrm>
            <a:off x="5088548" y="1478677"/>
            <a:ext cx="6097464" cy="3365024"/>
          </a:xfrm>
          <a:prstGeom prst="rect">
            <a:avLst/>
          </a:prstGeom>
          <a:noFill/>
        </p:spPr>
        <p:txBody>
          <a:bodyPr wrap="square">
            <a:spAutoFit/>
          </a:bodyPr>
          <a:lstStyle/>
          <a:p>
            <a:pPr>
              <a:lnSpc>
                <a:spcPct val="150000"/>
              </a:lnSpc>
            </a:pPr>
            <a:r>
              <a:rPr lang="zh-CN" altLang="en-US" dirty="0"/>
              <a:t>Apache Flink 是一个框架和分布式处理引擎，用于对无边界和有边界的数据流进行状态计算。Flink 被设计为在运行在所有常见的集群环境中，在任何规模的数据上以内存的速度执行计算。</a:t>
            </a:r>
            <a:endParaRPr lang="en-US" altLang="zh-CN" dirty="0"/>
          </a:p>
          <a:p>
            <a:pPr>
              <a:lnSpc>
                <a:spcPct val="150000"/>
              </a:lnSpc>
            </a:pPr>
            <a:endParaRPr lang="en-US" altLang="zh-CN" dirty="0"/>
          </a:p>
          <a:p>
            <a:pPr>
              <a:lnSpc>
                <a:spcPct val="150000"/>
              </a:lnSpc>
            </a:pPr>
            <a:r>
              <a:rPr lang="zh-CN" altLang="en-US" dirty="0"/>
              <a:t>在本实验中，</a:t>
            </a:r>
            <a:r>
              <a:rPr lang="en-US" altLang="zh-CN" dirty="0" err="1"/>
              <a:t>Flink</a:t>
            </a:r>
            <a:r>
              <a:rPr lang="zh-CN" altLang="en-US" dirty="0"/>
              <a:t>从</a:t>
            </a:r>
            <a:r>
              <a:rPr lang="en-US" altLang="zh-CN" dirty="0"/>
              <a:t>Kafka</a:t>
            </a:r>
            <a:r>
              <a:rPr lang="zh-CN" altLang="en-US" dirty="0"/>
              <a:t>消息队列中取出商品购买记录，通过事先编写好的处理逻辑，对每一条记录进行处理，并将处理结果输出到</a:t>
            </a:r>
            <a:r>
              <a:rPr lang="en-US" altLang="zh-CN" dirty="0" err="1"/>
              <a:t>Mysql</a:t>
            </a:r>
            <a:r>
              <a:rPr lang="zh-CN" altLang="en-US" dirty="0"/>
              <a:t>中进行存储。</a:t>
            </a:r>
            <a:endParaRPr lang="en-US" altLang="zh-CN" dirty="0"/>
          </a:p>
        </p:txBody>
      </p:sp>
      <p:pic>
        <p:nvPicPr>
          <p:cNvPr id="9" name="图片 8">
            <a:extLst>
              <a:ext uri="{FF2B5EF4-FFF2-40B4-BE49-F238E27FC236}">
                <a16:creationId xmlns:a16="http://schemas.microsoft.com/office/drawing/2014/main" id="{FDA35BD5-D3FB-4D6D-9FB7-1C3B309E3FEE}"/>
              </a:ext>
            </a:extLst>
          </p:cNvPr>
          <p:cNvPicPr>
            <a:picLocks noChangeAspect="1"/>
          </p:cNvPicPr>
          <p:nvPr/>
        </p:nvPicPr>
        <p:blipFill>
          <a:blip r:embed="rId3"/>
          <a:stretch>
            <a:fillRect/>
          </a:stretch>
        </p:blipFill>
        <p:spPr>
          <a:xfrm>
            <a:off x="669924" y="3236969"/>
            <a:ext cx="4312384" cy="2600325"/>
          </a:xfrm>
          <a:prstGeom prst="rect">
            <a:avLst/>
          </a:prstGeom>
        </p:spPr>
      </p:pic>
    </p:spTree>
    <p:extLst>
      <p:ext uri="{BB962C8B-B14F-4D97-AF65-F5344CB8AC3E}">
        <p14:creationId xmlns:p14="http://schemas.microsoft.com/office/powerpoint/2010/main" val="12365646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656863" y="2981325"/>
            <a:ext cx="4903783" cy="895350"/>
          </a:xfrm>
        </p:spPr>
        <p:txBody>
          <a:bodyPr/>
          <a:lstStyle/>
          <a:p>
            <a:r>
              <a:rPr lang="zh-CN" altLang="en-US" dirty="0"/>
              <a:t>实验流程</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56863" y="214108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4</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40719558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C66B114-3761-4F8B-A9F0-0402BD628504}"/>
              </a:ext>
            </a:extLst>
          </p:cNvPr>
          <p:cNvSpPr>
            <a:spLocks noGrp="1"/>
          </p:cNvSpPr>
          <p:nvPr>
            <p:ph type="title"/>
          </p:nvPr>
        </p:nvSpPr>
        <p:spPr/>
        <p:txBody>
          <a:bodyPr/>
          <a:lstStyle/>
          <a:p>
            <a:r>
              <a:rPr lang="zh-CN" altLang="en-US" dirty="0"/>
              <a:t>实验流程</a:t>
            </a:r>
          </a:p>
        </p:txBody>
      </p:sp>
      <p:pic>
        <p:nvPicPr>
          <p:cNvPr id="5" name="图片 4">
            <a:extLst>
              <a:ext uri="{FF2B5EF4-FFF2-40B4-BE49-F238E27FC236}">
                <a16:creationId xmlns:a16="http://schemas.microsoft.com/office/drawing/2014/main" id="{0B4E064F-156F-4144-8D72-6D1435274CE2}"/>
              </a:ext>
            </a:extLst>
          </p:cNvPr>
          <p:cNvPicPr/>
          <p:nvPr/>
        </p:nvPicPr>
        <p:blipFill>
          <a:blip r:embed="rId2"/>
          <a:stretch>
            <a:fillRect/>
          </a:stretch>
        </p:blipFill>
        <p:spPr>
          <a:xfrm>
            <a:off x="1966961" y="1367878"/>
            <a:ext cx="7392622" cy="1883532"/>
          </a:xfrm>
          <a:prstGeom prst="rect">
            <a:avLst/>
          </a:prstGeom>
        </p:spPr>
      </p:pic>
      <p:pic>
        <p:nvPicPr>
          <p:cNvPr id="6" name="图片 5">
            <a:extLst>
              <a:ext uri="{FF2B5EF4-FFF2-40B4-BE49-F238E27FC236}">
                <a16:creationId xmlns:a16="http://schemas.microsoft.com/office/drawing/2014/main" id="{BACD4B27-E742-417E-B44E-87FA9AB60A7B}"/>
              </a:ext>
            </a:extLst>
          </p:cNvPr>
          <p:cNvPicPr/>
          <p:nvPr/>
        </p:nvPicPr>
        <p:blipFill>
          <a:blip r:embed="rId3"/>
          <a:stretch>
            <a:fillRect/>
          </a:stretch>
        </p:blipFill>
        <p:spPr>
          <a:xfrm>
            <a:off x="1966961" y="1388934"/>
            <a:ext cx="7999291" cy="4195908"/>
          </a:xfrm>
          <a:prstGeom prst="rect">
            <a:avLst/>
          </a:prstGeom>
        </p:spPr>
      </p:pic>
      <p:pic>
        <p:nvPicPr>
          <p:cNvPr id="8" name="图片 7">
            <a:extLst>
              <a:ext uri="{FF2B5EF4-FFF2-40B4-BE49-F238E27FC236}">
                <a16:creationId xmlns:a16="http://schemas.microsoft.com/office/drawing/2014/main" id="{0B26C01A-69C2-40C4-A9CF-B7D6B77E32D9}"/>
              </a:ext>
            </a:extLst>
          </p:cNvPr>
          <p:cNvPicPr/>
          <p:nvPr/>
        </p:nvPicPr>
        <p:blipFill>
          <a:blip r:embed="rId4"/>
          <a:stretch>
            <a:fillRect/>
          </a:stretch>
        </p:blipFill>
        <p:spPr>
          <a:xfrm>
            <a:off x="1900932" y="1779126"/>
            <a:ext cx="8388546" cy="1333721"/>
          </a:xfrm>
          <a:prstGeom prst="rect">
            <a:avLst/>
          </a:prstGeom>
        </p:spPr>
      </p:pic>
      <p:pic>
        <p:nvPicPr>
          <p:cNvPr id="7" name="图片 6">
            <a:extLst>
              <a:ext uri="{FF2B5EF4-FFF2-40B4-BE49-F238E27FC236}">
                <a16:creationId xmlns:a16="http://schemas.microsoft.com/office/drawing/2014/main" id="{DFD6A23C-600C-438C-BC1A-1F435234B502}"/>
              </a:ext>
            </a:extLst>
          </p:cNvPr>
          <p:cNvPicPr/>
          <p:nvPr/>
        </p:nvPicPr>
        <p:blipFill>
          <a:blip r:embed="rId5"/>
          <a:stretch>
            <a:fillRect/>
          </a:stretch>
        </p:blipFill>
        <p:spPr>
          <a:xfrm>
            <a:off x="2491950" y="2279230"/>
            <a:ext cx="6625931" cy="617734"/>
          </a:xfrm>
          <a:prstGeom prst="rect">
            <a:avLst/>
          </a:prstGeom>
        </p:spPr>
      </p:pic>
      <p:pic>
        <p:nvPicPr>
          <p:cNvPr id="9" name="图片 8">
            <a:extLst>
              <a:ext uri="{FF2B5EF4-FFF2-40B4-BE49-F238E27FC236}">
                <a16:creationId xmlns:a16="http://schemas.microsoft.com/office/drawing/2014/main" id="{A2C1DF22-F225-44DE-B4CE-5E7259376925}"/>
              </a:ext>
            </a:extLst>
          </p:cNvPr>
          <p:cNvPicPr/>
          <p:nvPr/>
        </p:nvPicPr>
        <p:blipFill>
          <a:blip r:embed="rId6"/>
          <a:stretch>
            <a:fillRect/>
          </a:stretch>
        </p:blipFill>
        <p:spPr>
          <a:xfrm>
            <a:off x="1608124" y="1213977"/>
            <a:ext cx="9504483" cy="5121457"/>
          </a:xfrm>
          <a:prstGeom prst="rect">
            <a:avLst/>
          </a:prstGeom>
        </p:spPr>
      </p:pic>
      <p:pic>
        <p:nvPicPr>
          <p:cNvPr id="10" name="图片 9">
            <a:extLst>
              <a:ext uri="{FF2B5EF4-FFF2-40B4-BE49-F238E27FC236}">
                <a16:creationId xmlns:a16="http://schemas.microsoft.com/office/drawing/2014/main" id="{23170485-C6DC-4E09-9F1B-F52A58D59997}"/>
              </a:ext>
            </a:extLst>
          </p:cNvPr>
          <p:cNvPicPr/>
          <p:nvPr/>
        </p:nvPicPr>
        <p:blipFill>
          <a:blip r:embed="rId7"/>
          <a:stretch>
            <a:fillRect/>
          </a:stretch>
        </p:blipFill>
        <p:spPr>
          <a:xfrm>
            <a:off x="1302854" y="1584030"/>
            <a:ext cx="10318702" cy="3805716"/>
          </a:xfrm>
          <a:prstGeom prst="rect">
            <a:avLst/>
          </a:prstGeom>
        </p:spPr>
      </p:pic>
      <p:pic>
        <p:nvPicPr>
          <p:cNvPr id="11" name="图片 10">
            <a:extLst>
              <a:ext uri="{FF2B5EF4-FFF2-40B4-BE49-F238E27FC236}">
                <a16:creationId xmlns:a16="http://schemas.microsoft.com/office/drawing/2014/main" id="{4C293F1F-A51F-421C-BDE6-B314F847F5D6}"/>
              </a:ext>
            </a:extLst>
          </p:cNvPr>
          <p:cNvPicPr/>
          <p:nvPr/>
        </p:nvPicPr>
        <p:blipFill>
          <a:blip r:embed="rId8">
            <a:extLst>
              <a:ext uri="{28A0092B-C50C-407E-A947-70E740481C1C}">
                <a14:useLocalDpi xmlns:a14="http://schemas.microsoft.com/office/drawing/2010/main" val="0"/>
              </a:ext>
            </a:extLst>
          </a:blip>
          <a:stretch>
            <a:fillRect/>
          </a:stretch>
        </p:blipFill>
        <p:spPr>
          <a:xfrm>
            <a:off x="2468562" y="1028700"/>
            <a:ext cx="6389420" cy="5431375"/>
          </a:xfrm>
          <a:prstGeom prst="rect">
            <a:avLst/>
          </a:prstGeom>
        </p:spPr>
      </p:pic>
    </p:spTree>
    <p:extLst>
      <p:ext uri="{BB962C8B-B14F-4D97-AF65-F5344CB8AC3E}">
        <p14:creationId xmlns:p14="http://schemas.microsoft.com/office/powerpoint/2010/main" val="1464883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ppt_x"/>
                                          </p:val>
                                        </p:tav>
                                        <p:tav tm="100000">
                                          <p:val>
                                            <p:strVal val="#ppt_x"/>
                                          </p:val>
                                        </p:tav>
                                      </p:tavLst>
                                    </p:anim>
                                    <p:anim calcmode="lin" valueType="num">
                                      <p:cBhvr additive="base">
                                        <p:cTn id="1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ppt_x"/>
                                          </p:val>
                                        </p:tav>
                                        <p:tav tm="100000">
                                          <p:val>
                                            <p:strVal val="#ppt_x"/>
                                          </p:val>
                                        </p:tav>
                                      </p:tavLst>
                                    </p:anim>
                                    <p:anim calcmode="lin" valueType="num">
                                      <p:cBhvr additive="base">
                                        <p:cTn id="24"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nodeType="click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1000"/>
                                        <p:tgtEl>
                                          <p:spTgt spid="9"/>
                                        </p:tgtEl>
                                      </p:cBhvr>
                                    </p:animEffect>
                                    <p:anim calcmode="lin" valueType="num">
                                      <p:cBhvr>
                                        <p:cTn id="30" dur="1000" fill="hold"/>
                                        <p:tgtEl>
                                          <p:spTgt spid="9"/>
                                        </p:tgtEl>
                                        <p:attrNameLst>
                                          <p:attrName>ppt_x</p:attrName>
                                        </p:attrNameLst>
                                      </p:cBhvr>
                                      <p:tavLst>
                                        <p:tav tm="0">
                                          <p:val>
                                            <p:strVal val="#ppt_x"/>
                                          </p:val>
                                        </p:tav>
                                        <p:tav tm="100000">
                                          <p:val>
                                            <p:strVal val="#ppt_x"/>
                                          </p:val>
                                        </p:tav>
                                      </p:tavLst>
                                    </p:anim>
                                    <p:anim calcmode="lin" valueType="num">
                                      <p:cBhvr>
                                        <p:cTn id="31"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2" presetClass="entr" presetSubtype="4"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additive="base">
                                        <p:cTn id="36" dur="500" fill="hold"/>
                                        <p:tgtEl>
                                          <p:spTgt spid="10"/>
                                        </p:tgtEl>
                                        <p:attrNameLst>
                                          <p:attrName>ppt_x</p:attrName>
                                        </p:attrNameLst>
                                      </p:cBhvr>
                                      <p:tavLst>
                                        <p:tav tm="0">
                                          <p:val>
                                            <p:strVal val="#ppt_x"/>
                                          </p:val>
                                        </p:tav>
                                        <p:tav tm="100000">
                                          <p:val>
                                            <p:strVal val="#ppt_x"/>
                                          </p:val>
                                        </p:tav>
                                      </p:tavLst>
                                    </p:anim>
                                    <p:anim calcmode="lin" valueType="num">
                                      <p:cBhvr additive="base">
                                        <p:cTn id="37"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barn(inVertical)">
                                      <p:cBhvr>
                                        <p:cTn id="4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656863" y="2981325"/>
            <a:ext cx="4903783" cy="895350"/>
          </a:xfrm>
        </p:spPr>
        <p:txBody>
          <a:bodyPr/>
          <a:lstStyle/>
          <a:p>
            <a:r>
              <a:rPr lang="zh-CN" altLang="en-US" dirty="0"/>
              <a:t>总结</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56863" y="214108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5</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10075645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73E3F20-BC62-442D-B795-D16A6D4FA14E}"/>
              </a:ext>
            </a:extLst>
          </p:cNvPr>
          <p:cNvSpPr>
            <a:spLocks noGrp="1"/>
          </p:cNvSpPr>
          <p:nvPr>
            <p:ph type="title"/>
          </p:nvPr>
        </p:nvSpPr>
        <p:spPr/>
        <p:txBody>
          <a:bodyPr/>
          <a:lstStyle/>
          <a:p>
            <a:r>
              <a:rPr lang="zh-CN" altLang="en-US" dirty="0"/>
              <a:t>总结</a:t>
            </a:r>
          </a:p>
        </p:txBody>
      </p:sp>
      <p:sp>
        <p:nvSpPr>
          <p:cNvPr id="7" name="文本框 6">
            <a:extLst>
              <a:ext uri="{FF2B5EF4-FFF2-40B4-BE49-F238E27FC236}">
                <a16:creationId xmlns:a16="http://schemas.microsoft.com/office/drawing/2014/main" id="{1E1ECE30-A7C6-4FD5-B370-292FA1DB4626}"/>
              </a:ext>
            </a:extLst>
          </p:cNvPr>
          <p:cNvSpPr txBox="1"/>
          <p:nvPr/>
        </p:nvSpPr>
        <p:spPr>
          <a:xfrm>
            <a:off x="1727443" y="1423558"/>
            <a:ext cx="8735524" cy="3782446"/>
          </a:xfrm>
          <a:prstGeom prst="rect">
            <a:avLst/>
          </a:prstGeom>
          <a:noFill/>
        </p:spPr>
        <p:txBody>
          <a:bodyPr wrap="square">
            <a:spAutoFit/>
          </a:bodyPr>
          <a:lstStyle/>
          <a:p>
            <a:pPr>
              <a:lnSpc>
                <a:spcPct val="150000"/>
              </a:lnSpc>
            </a:pPr>
            <a:r>
              <a:rPr lang="zh-CN" altLang="en-US" dirty="0"/>
              <a:t>       我之所以选这个大数据实时分析实验写课程设计是因为之前在准备大数据比赛的时候，看到大数据课程的最后几课学的就是 Kafka 和 Flume，大数据比赛只考察了 Hadoop，Hive 还有 Spark，所以当时没有去学习之后的这些课程，对Kafka 和 Flume 也只有一个印象，并不知道这两个技术是干什么用的。刚好华为云大数据有这个实验，我就正好可以趁着这个机会去学习之前还没有学的知识。在之前自学的课程中还看见了 Storm 框架，通过这几天的学习，知道了 Storm 也是一个流数据实时计算的框架，本实验中的 Flink 也是流数据的处理框架，并且Flink 性能比 Storm 还会更好。到目前为止，我也算是使用并了解过一大半的大数据处理框架了，对整个大数据的生态体系也有了较为直观的认识，并对大数据处理流程也有了一定的了解。</a:t>
            </a:r>
          </a:p>
        </p:txBody>
      </p:sp>
    </p:spTree>
    <p:extLst>
      <p:ext uri="{BB962C8B-B14F-4D97-AF65-F5344CB8AC3E}">
        <p14:creationId xmlns:p14="http://schemas.microsoft.com/office/powerpoint/2010/main" val="25254177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90E1F76-3F9B-465A-A1A6-7103A5B28F8E}"/>
              </a:ext>
            </a:extLst>
          </p:cNvPr>
          <p:cNvSpPr>
            <a:spLocks noGrp="1"/>
          </p:cNvSpPr>
          <p:nvPr>
            <p:ph type="title"/>
          </p:nvPr>
        </p:nvSpPr>
        <p:spPr/>
        <p:txBody>
          <a:bodyPr/>
          <a:lstStyle/>
          <a:p>
            <a:r>
              <a:rPr lang="zh-CN" altLang="en-US" dirty="0"/>
              <a:t>总结</a:t>
            </a:r>
          </a:p>
        </p:txBody>
      </p:sp>
      <p:sp>
        <p:nvSpPr>
          <p:cNvPr id="6" name="文本框 5">
            <a:extLst>
              <a:ext uri="{FF2B5EF4-FFF2-40B4-BE49-F238E27FC236}">
                <a16:creationId xmlns:a16="http://schemas.microsoft.com/office/drawing/2014/main" id="{73ECF2D8-2F14-42F3-A6A9-9CCD3149769E}"/>
              </a:ext>
            </a:extLst>
          </p:cNvPr>
          <p:cNvSpPr txBox="1"/>
          <p:nvPr/>
        </p:nvSpPr>
        <p:spPr>
          <a:xfrm>
            <a:off x="832389" y="1138535"/>
            <a:ext cx="9233154" cy="873957"/>
          </a:xfrm>
          <a:prstGeom prst="rect">
            <a:avLst/>
          </a:prstGeom>
          <a:noFill/>
        </p:spPr>
        <p:txBody>
          <a:bodyPr wrap="square">
            <a:spAutoFit/>
          </a:bodyPr>
          <a:lstStyle/>
          <a:p>
            <a:pPr>
              <a:lnSpc>
                <a:spcPct val="150000"/>
              </a:lnSpc>
            </a:pPr>
            <a:r>
              <a:rPr lang="zh-CN" altLang="en-US" dirty="0"/>
              <a:t>除了做了这个大数据综合设计外，其他的几个综合设计我对着教程操作了一遍，</a:t>
            </a:r>
          </a:p>
          <a:p>
            <a:pPr>
              <a:lnSpc>
                <a:spcPct val="150000"/>
              </a:lnSpc>
            </a:pPr>
            <a:r>
              <a:rPr lang="zh-CN" altLang="en-US" dirty="0"/>
              <a:t>下面是我对这几个实验的一些看法与理解：</a:t>
            </a:r>
          </a:p>
        </p:txBody>
      </p:sp>
      <p:sp>
        <p:nvSpPr>
          <p:cNvPr id="8" name="文本框 7">
            <a:extLst>
              <a:ext uri="{FF2B5EF4-FFF2-40B4-BE49-F238E27FC236}">
                <a16:creationId xmlns:a16="http://schemas.microsoft.com/office/drawing/2014/main" id="{8E7D064E-1986-44A3-8A89-FE59E692E979}"/>
              </a:ext>
            </a:extLst>
          </p:cNvPr>
          <p:cNvSpPr txBox="1"/>
          <p:nvPr/>
        </p:nvSpPr>
        <p:spPr>
          <a:xfrm>
            <a:off x="832389" y="2235254"/>
            <a:ext cx="4516852" cy="3782446"/>
          </a:xfrm>
          <a:prstGeom prst="rect">
            <a:avLst/>
          </a:prstGeom>
          <a:noFill/>
        </p:spPr>
        <p:txBody>
          <a:bodyPr wrap="square">
            <a:spAutoFit/>
          </a:bodyPr>
          <a:lstStyle/>
          <a:p>
            <a:pPr>
              <a:lnSpc>
                <a:spcPct val="150000"/>
              </a:lnSpc>
            </a:pPr>
            <a:r>
              <a:rPr lang="zh-CN" altLang="en-US" dirty="0"/>
              <a:t>首先课程实验一，云主机实现大数据，这个实验的工作与大数据竞赛的题目几乎一模一样，是一个关于搭建 Hadoop 集群的实验，与我们平时搭建的Hadpoop 集群不同的是，使用华为云服务器还可以将 Hadoop 集群与华为云的OBS 存储对象服务关联起来，通过华为云的控制台，可以使用图形化界面与 HDFS进行交互，文件上传与下载。</a:t>
            </a:r>
          </a:p>
        </p:txBody>
      </p:sp>
      <p:pic>
        <p:nvPicPr>
          <p:cNvPr id="11" name="图片 10">
            <a:extLst>
              <a:ext uri="{FF2B5EF4-FFF2-40B4-BE49-F238E27FC236}">
                <a16:creationId xmlns:a16="http://schemas.microsoft.com/office/drawing/2014/main" id="{7E0DFCE7-5D90-4F1B-B262-4934FA7BB275}"/>
              </a:ext>
            </a:extLst>
          </p:cNvPr>
          <p:cNvPicPr/>
          <p:nvPr/>
        </p:nvPicPr>
        <p:blipFill>
          <a:blip r:embed="rId2"/>
          <a:stretch>
            <a:fillRect/>
          </a:stretch>
        </p:blipFill>
        <p:spPr>
          <a:xfrm>
            <a:off x="5349241" y="1783080"/>
            <a:ext cx="6171246" cy="1904974"/>
          </a:xfrm>
          <a:prstGeom prst="rect">
            <a:avLst/>
          </a:prstGeom>
        </p:spPr>
      </p:pic>
      <p:pic>
        <p:nvPicPr>
          <p:cNvPr id="12" name="图片 11">
            <a:extLst>
              <a:ext uri="{FF2B5EF4-FFF2-40B4-BE49-F238E27FC236}">
                <a16:creationId xmlns:a16="http://schemas.microsoft.com/office/drawing/2014/main" id="{C7552162-A50F-43C5-8717-340EC0E8585A}"/>
              </a:ext>
            </a:extLst>
          </p:cNvPr>
          <p:cNvPicPr/>
          <p:nvPr/>
        </p:nvPicPr>
        <p:blipFill>
          <a:blip r:embed="rId3"/>
          <a:stretch>
            <a:fillRect/>
          </a:stretch>
        </p:blipFill>
        <p:spPr>
          <a:xfrm>
            <a:off x="5349241" y="4084552"/>
            <a:ext cx="6171246" cy="1282976"/>
          </a:xfrm>
          <a:prstGeom prst="rect">
            <a:avLst/>
          </a:prstGeom>
        </p:spPr>
      </p:pic>
    </p:spTree>
    <p:extLst>
      <p:ext uri="{BB962C8B-B14F-4D97-AF65-F5344CB8AC3E}">
        <p14:creationId xmlns:p14="http://schemas.microsoft.com/office/powerpoint/2010/main" val="22757467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F815292-BD85-48D5-8B1D-444310AF7E7A}"/>
              </a:ext>
            </a:extLst>
          </p:cNvPr>
          <p:cNvSpPr>
            <a:spLocks noGrp="1"/>
          </p:cNvSpPr>
          <p:nvPr>
            <p:ph type="title"/>
          </p:nvPr>
        </p:nvSpPr>
        <p:spPr/>
        <p:txBody>
          <a:bodyPr/>
          <a:lstStyle/>
          <a:p>
            <a:r>
              <a:rPr lang="zh-CN" altLang="en-US" dirty="0"/>
              <a:t>总结</a:t>
            </a:r>
          </a:p>
        </p:txBody>
      </p:sp>
      <p:sp>
        <p:nvSpPr>
          <p:cNvPr id="6" name="文本框 5">
            <a:extLst>
              <a:ext uri="{FF2B5EF4-FFF2-40B4-BE49-F238E27FC236}">
                <a16:creationId xmlns:a16="http://schemas.microsoft.com/office/drawing/2014/main" id="{B25D51F6-6536-4235-8DB6-047776D243F6}"/>
              </a:ext>
            </a:extLst>
          </p:cNvPr>
          <p:cNvSpPr txBox="1"/>
          <p:nvPr/>
        </p:nvSpPr>
        <p:spPr>
          <a:xfrm>
            <a:off x="816102" y="1365564"/>
            <a:ext cx="5279898" cy="3782446"/>
          </a:xfrm>
          <a:prstGeom prst="rect">
            <a:avLst/>
          </a:prstGeom>
          <a:noFill/>
        </p:spPr>
        <p:txBody>
          <a:bodyPr wrap="square">
            <a:spAutoFit/>
          </a:bodyPr>
          <a:lstStyle/>
          <a:p>
            <a:pPr>
              <a:lnSpc>
                <a:spcPct val="150000"/>
              </a:lnSpc>
            </a:pPr>
            <a:r>
              <a:rPr lang="zh-CN" altLang="en-US" dirty="0"/>
              <a:t>课程实验二，云服务实现大数据，这个实验就是通过华为云已经搭建好的Hadoop 集群来运行MapReduce 作业。我们一般编写的 MapReduce 程序需要打成一个 Jar 包送入到 Master 节点去进行分发任务，通过命令 hadoop jar xxx 来运行这个作业，而这个实验就是给我面设计好了图形界面，不需要通过命令行，直接将数据和文件上传到华为云的 OBS 存储对象中去，然后上传到 Hadoop 集群运行作业，让整个作业提交流程变得简单。</a:t>
            </a:r>
          </a:p>
        </p:txBody>
      </p:sp>
      <p:pic>
        <p:nvPicPr>
          <p:cNvPr id="7" name="图片 6">
            <a:extLst>
              <a:ext uri="{FF2B5EF4-FFF2-40B4-BE49-F238E27FC236}">
                <a16:creationId xmlns:a16="http://schemas.microsoft.com/office/drawing/2014/main" id="{2B77707C-C0B7-454F-A89B-B2B7B4C6C0A7}"/>
              </a:ext>
            </a:extLst>
          </p:cNvPr>
          <p:cNvPicPr/>
          <p:nvPr/>
        </p:nvPicPr>
        <p:blipFill>
          <a:blip r:embed="rId2"/>
          <a:stretch>
            <a:fillRect/>
          </a:stretch>
        </p:blipFill>
        <p:spPr>
          <a:xfrm>
            <a:off x="6519673" y="1148191"/>
            <a:ext cx="5349239" cy="2280809"/>
          </a:xfrm>
          <a:prstGeom prst="rect">
            <a:avLst/>
          </a:prstGeom>
        </p:spPr>
      </p:pic>
      <p:pic>
        <p:nvPicPr>
          <p:cNvPr id="8" name="图片 7">
            <a:extLst>
              <a:ext uri="{FF2B5EF4-FFF2-40B4-BE49-F238E27FC236}">
                <a16:creationId xmlns:a16="http://schemas.microsoft.com/office/drawing/2014/main" id="{FB7FEB50-6467-4D99-A8C0-EFAC625B5512}"/>
              </a:ext>
            </a:extLst>
          </p:cNvPr>
          <p:cNvPicPr/>
          <p:nvPr/>
        </p:nvPicPr>
        <p:blipFill>
          <a:blip r:embed="rId3"/>
          <a:stretch>
            <a:fillRect/>
          </a:stretch>
        </p:blipFill>
        <p:spPr>
          <a:xfrm>
            <a:off x="6593301" y="3696669"/>
            <a:ext cx="5201981" cy="2543794"/>
          </a:xfrm>
          <a:prstGeom prst="rect">
            <a:avLst/>
          </a:prstGeom>
        </p:spPr>
      </p:pic>
    </p:spTree>
    <p:extLst>
      <p:ext uri="{BB962C8B-B14F-4D97-AF65-F5344CB8AC3E}">
        <p14:creationId xmlns:p14="http://schemas.microsoft.com/office/powerpoint/2010/main" val="32588225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C3D4B10-1D09-42DF-B42E-1D34D86A6608}"/>
              </a:ext>
            </a:extLst>
          </p:cNvPr>
          <p:cNvSpPr>
            <a:spLocks noGrp="1"/>
          </p:cNvSpPr>
          <p:nvPr>
            <p:ph type="title"/>
          </p:nvPr>
        </p:nvSpPr>
        <p:spPr/>
        <p:txBody>
          <a:bodyPr/>
          <a:lstStyle/>
          <a:p>
            <a:r>
              <a:rPr lang="zh-CN" altLang="en-US" dirty="0"/>
              <a:t>总结</a:t>
            </a:r>
          </a:p>
        </p:txBody>
      </p:sp>
      <p:sp>
        <p:nvSpPr>
          <p:cNvPr id="6" name="文本框 5">
            <a:extLst>
              <a:ext uri="{FF2B5EF4-FFF2-40B4-BE49-F238E27FC236}">
                <a16:creationId xmlns:a16="http://schemas.microsoft.com/office/drawing/2014/main" id="{95DA8B84-6B51-46CB-813D-0D0CA2E61261}"/>
              </a:ext>
            </a:extLst>
          </p:cNvPr>
          <p:cNvSpPr txBox="1"/>
          <p:nvPr/>
        </p:nvSpPr>
        <p:spPr>
          <a:xfrm>
            <a:off x="845769" y="1270420"/>
            <a:ext cx="9643453" cy="369332"/>
          </a:xfrm>
          <a:prstGeom prst="rect">
            <a:avLst/>
          </a:prstGeom>
          <a:noFill/>
        </p:spPr>
        <p:txBody>
          <a:bodyPr wrap="square">
            <a:spAutoFit/>
          </a:bodyPr>
          <a:lstStyle/>
          <a:p>
            <a:r>
              <a:rPr lang="zh-CN" altLang="en-US" dirty="0"/>
              <a:t>综合实验一在课程实验一的基础上增加了 Spark 集群的搭建，也是比较基础的一个实验。</a:t>
            </a:r>
          </a:p>
        </p:txBody>
      </p:sp>
    </p:spTree>
    <p:extLst>
      <p:ext uri="{BB962C8B-B14F-4D97-AF65-F5344CB8AC3E}">
        <p14:creationId xmlns:p14="http://schemas.microsoft.com/office/powerpoint/2010/main" val="1681217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2348D1A-18D4-47CA-B944-75720D7D81AB}"/>
              </a:ext>
            </a:extLst>
          </p:cNvPr>
          <p:cNvSpPr>
            <a:spLocks noGrp="1"/>
          </p:cNvSpPr>
          <p:nvPr>
            <p:ph type="title"/>
          </p:nvPr>
        </p:nvSpPr>
        <p:spPr/>
        <p:txBody>
          <a:bodyPr/>
          <a:lstStyle/>
          <a:p>
            <a:r>
              <a:rPr lang="zh-CN" altLang="en-US" dirty="0"/>
              <a:t>总结</a:t>
            </a:r>
          </a:p>
        </p:txBody>
      </p:sp>
      <p:sp>
        <p:nvSpPr>
          <p:cNvPr id="6" name="文本框 5">
            <a:extLst>
              <a:ext uri="{FF2B5EF4-FFF2-40B4-BE49-F238E27FC236}">
                <a16:creationId xmlns:a16="http://schemas.microsoft.com/office/drawing/2014/main" id="{FA0F65B5-2A90-4D7E-9FBC-8D14182BA033}"/>
              </a:ext>
            </a:extLst>
          </p:cNvPr>
          <p:cNvSpPr txBox="1"/>
          <p:nvPr/>
        </p:nvSpPr>
        <p:spPr>
          <a:xfrm>
            <a:off x="1759498" y="1129496"/>
            <a:ext cx="8671413" cy="2951449"/>
          </a:xfrm>
          <a:prstGeom prst="rect">
            <a:avLst/>
          </a:prstGeom>
          <a:noFill/>
        </p:spPr>
        <p:txBody>
          <a:bodyPr wrap="square">
            <a:spAutoFit/>
          </a:bodyPr>
          <a:lstStyle/>
          <a:p>
            <a:pPr>
              <a:lnSpc>
                <a:spcPct val="150000"/>
              </a:lnSpc>
            </a:pPr>
            <a:r>
              <a:rPr lang="zh-CN" altLang="en-US" dirty="0"/>
              <a:t>综合实验三是大数据离线分析。大数据离线分析和大数据实时分析都是电商平台对用户购买数据等数据的重要分析手段，我认为在线分析主要作用是可视化所有顾客的实时间数据，比如实时成交量，实时浏览量等，让后台人员清晰的看见目前平台是什么状况，而离线分析是在一段时间内手机大量的用户信息，需要从很多的信息中挖掘出有效信息，单条信息的价值不高，但是许多信息合起来就能有很大潜在的价值，所以需要使用离线分析对大量的数据进行分析。在该实验中，主要用的工具是 Hive、Myql 还有 Loader。其中 Loader 是通过 Sqoop 作业来进行数据库数据的传递。</a:t>
            </a:r>
          </a:p>
        </p:txBody>
      </p:sp>
      <p:pic>
        <p:nvPicPr>
          <p:cNvPr id="8" name="图片 7">
            <a:extLst>
              <a:ext uri="{FF2B5EF4-FFF2-40B4-BE49-F238E27FC236}">
                <a16:creationId xmlns:a16="http://schemas.microsoft.com/office/drawing/2014/main" id="{FEDBC973-E7C1-4896-91E6-88950DFFFE9D}"/>
              </a:ext>
            </a:extLst>
          </p:cNvPr>
          <p:cNvPicPr>
            <a:picLocks noChangeAspect="1"/>
          </p:cNvPicPr>
          <p:nvPr/>
        </p:nvPicPr>
        <p:blipFill>
          <a:blip r:embed="rId2"/>
          <a:stretch>
            <a:fillRect/>
          </a:stretch>
        </p:blipFill>
        <p:spPr>
          <a:xfrm>
            <a:off x="2266217" y="4080945"/>
            <a:ext cx="8064745" cy="2068061"/>
          </a:xfrm>
          <a:prstGeom prst="rect">
            <a:avLst/>
          </a:prstGeom>
        </p:spPr>
      </p:pic>
      <p:pic>
        <p:nvPicPr>
          <p:cNvPr id="17" name="图片 16">
            <a:extLst>
              <a:ext uri="{FF2B5EF4-FFF2-40B4-BE49-F238E27FC236}">
                <a16:creationId xmlns:a16="http://schemas.microsoft.com/office/drawing/2014/main" id="{294D71AA-41EF-4639-8D71-2A10D8D627B9}"/>
              </a:ext>
            </a:extLst>
          </p:cNvPr>
          <p:cNvPicPr/>
          <p:nvPr/>
        </p:nvPicPr>
        <p:blipFill>
          <a:blip r:embed="rId3"/>
          <a:stretch>
            <a:fillRect/>
          </a:stretch>
        </p:blipFill>
        <p:spPr>
          <a:xfrm>
            <a:off x="2015543" y="1194004"/>
            <a:ext cx="8164694" cy="5159439"/>
          </a:xfrm>
          <a:prstGeom prst="rect">
            <a:avLst/>
          </a:prstGeom>
        </p:spPr>
      </p:pic>
      <p:pic>
        <p:nvPicPr>
          <p:cNvPr id="18" name="图片 17">
            <a:extLst>
              <a:ext uri="{FF2B5EF4-FFF2-40B4-BE49-F238E27FC236}">
                <a16:creationId xmlns:a16="http://schemas.microsoft.com/office/drawing/2014/main" id="{7D71FBFA-21F6-4EC0-990E-CCE8E84C3624}"/>
              </a:ext>
            </a:extLst>
          </p:cNvPr>
          <p:cNvPicPr/>
          <p:nvPr/>
        </p:nvPicPr>
        <p:blipFill>
          <a:blip r:embed="rId4"/>
          <a:stretch>
            <a:fillRect/>
          </a:stretch>
        </p:blipFill>
        <p:spPr>
          <a:xfrm>
            <a:off x="2002404" y="1696948"/>
            <a:ext cx="7838539" cy="3365141"/>
          </a:xfrm>
          <a:prstGeom prst="rect">
            <a:avLst/>
          </a:prstGeom>
        </p:spPr>
      </p:pic>
      <p:pic>
        <p:nvPicPr>
          <p:cNvPr id="19" name="图片 18">
            <a:extLst>
              <a:ext uri="{FF2B5EF4-FFF2-40B4-BE49-F238E27FC236}">
                <a16:creationId xmlns:a16="http://schemas.microsoft.com/office/drawing/2014/main" id="{AE686F6E-49A0-4F1A-A1DB-91A46FF926E8}"/>
              </a:ext>
            </a:extLst>
          </p:cNvPr>
          <p:cNvPicPr/>
          <p:nvPr/>
        </p:nvPicPr>
        <p:blipFill>
          <a:blip r:embed="rId5"/>
          <a:stretch>
            <a:fillRect/>
          </a:stretch>
        </p:blipFill>
        <p:spPr>
          <a:xfrm>
            <a:off x="2019323" y="1696948"/>
            <a:ext cx="7834759" cy="3365141"/>
          </a:xfrm>
          <a:prstGeom prst="rect">
            <a:avLst/>
          </a:prstGeom>
        </p:spPr>
      </p:pic>
      <p:pic>
        <p:nvPicPr>
          <p:cNvPr id="20" name="图片 19">
            <a:extLst>
              <a:ext uri="{FF2B5EF4-FFF2-40B4-BE49-F238E27FC236}">
                <a16:creationId xmlns:a16="http://schemas.microsoft.com/office/drawing/2014/main" id="{994F6C10-5A48-473C-8D1C-F901D65717DE}"/>
              </a:ext>
            </a:extLst>
          </p:cNvPr>
          <p:cNvPicPr/>
          <p:nvPr/>
        </p:nvPicPr>
        <p:blipFill>
          <a:blip r:embed="rId6"/>
          <a:stretch>
            <a:fillRect/>
          </a:stretch>
        </p:blipFill>
        <p:spPr>
          <a:xfrm>
            <a:off x="2002404" y="1712018"/>
            <a:ext cx="7755736" cy="2316185"/>
          </a:xfrm>
          <a:prstGeom prst="rect">
            <a:avLst/>
          </a:prstGeom>
        </p:spPr>
      </p:pic>
      <p:pic>
        <p:nvPicPr>
          <p:cNvPr id="21" name="图片 20">
            <a:extLst>
              <a:ext uri="{FF2B5EF4-FFF2-40B4-BE49-F238E27FC236}">
                <a16:creationId xmlns:a16="http://schemas.microsoft.com/office/drawing/2014/main" id="{D9AB694F-1C8C-4838-B50C-02500D02C88B}"/>
              </a:ext>
            </a:extLst>
          </p:cNvPr>
          <p:cNvPicPr/>
          <p:nvPr/>
        </p:nvPicPr>
        <p:blipFill>
          <a:blip r:embed="rId7"/>
          <a:stretch>
            <a:fillRect/>
          </a:stretch>
        </p:blipFill>
        <p:spPr>
          <a:xfrm>
            <a:off x="2002404" y="1682783"/>
            <a:ext cx="8223394" cy="3532198"/>
          </a:xfrm>
          <a:prstGeom prst="rect">
            <a:avLst/>
          </a:prstGeom>
        </p:spPr>
      </p:pic>
      <p:pic>
        <p:nvPicPr>
          <p:cNvPr id="22" name="图片 21">
            <a:extLst>
              <a:ext uri="{FF2B5EF4-FFF2-40B4-BE49-F238E27FC236}">
                <a16:creationId xmlns:a16="http://schemas.microsoft.com/office/drawing/2014/main" id="{E9A30638-A791-49B9-B598-10A67468C239}"/>
              </a:ext>
            </a:extLst>
          </p:cNvPr>
          <p:cNvPicPr/>
          <p:nvPr/>
        </p:nvPicPr>
        <p:blipFill>
          <a:blip r:embed="rId8"/>
          <a:stretch>
            <a:fillRect/>
          </a:stretch>
        </p:blipFill>
        <p:spPr>
          <a:xfrm>
            <a:off x="2002404" y="1722723"/>
            <a:ext cx="8671413" cy="2734180"/>
          </a:xfrm>
          <a:prstGeom prst="rect">
            <a:avLst/>
          </a:prstGeom>
        </p:spPr>
      </p:pic>
      <p:pic>
        <p:nvPicPr>
          <p:cNvPr id="23" name="图片 22">
            <a:extLst>
              <a:ext uri="{FF2B5EF4-FFF2-40B4-BE49-F238E27FC236}">
                <a16:creationId xmlns:a16="http://schemas.microsoft.com/office/drawing/2014/main" id="{3B4060F7-12C8-4259-BDE6-359C365F637F}"/>
              </a:ext>
            </a:extLst>
          </p:cNvPr>
          <p:cNvPicPr/>
          <p:nvPr/>
        </p:nvPicPr>
        <p:blipFill>
          <a:blip r:embed="rId9"/>
          <a:stretch>
            <a:fillRect/>
          </a:stretch>
        </p:blipFill>
        <p:spPr>
          <a:xfrm>
            <a:off x="1454747" y="1115105"/>
            <a:ext cx="9687684" cy="5317236"/>
          </a:xfrm>
          <a:prstGeom prst="rect">
            <a:avLst/>
          </a:prstGeom>
        </p:spPr>
      </p:pic>
      <p:pic>
        <p:nvPicPr>
          <p:cNvPr id="24" name="图片 23">
            <a:extLst>
              <a:ext uri="{FF2B5EF4-FFF2-40B4-BE49-F238E27FC236}">
                <a16:creationId xmlns:a16="http://schemas.microsoft.com/office/drawing/2014/main" id="{94EEEEC5-52A5-4233-BABC-34571429B2A2}"/>
              </a:ext>
            </a:extLst>
          </p:cNvPr>
          <p:cNvPicPr/>
          <p:nvPr/>
        </p:nvPicPr>
        <p:blipFill>
          <a:blip r:embed="rId10"/>
          <a:stretch>
            <a:fillRect/>
          </a:stretch>
        </p:blipFill>
        <p:spPr>
          <a:xfrm>
            <a:off x="1454747" y="1115105"/>
            <a:ext cx="9687684" cy="5282460"/>
          </a:xfrm>
          <a:prstGeom prst="rect">
            <a:avLst/>
          </a:prstGeom>
        </p:spPr>
      </p:pic>
      <p:pic>
        <p:nvPicPr>
          <p:cNvPr id="25" name="图片 24">
            <a:extLst>
              <a:ext uri="{FF2B5EF4-FFF2-40B4-BE49-F238E27FC236}">
                <a16:creationId xmlns:a16="http://schemas.microsoft.com/office/drawing/2014/main" id="{355AFDCC-C698-4C86-922F-4E4FEE5ED154}"/>
              </a:ext>
            </a:extLst>
          </p:cNvPr>
          <p:cNvPicPr/>
          <p:nvPr/>
        </p:nvPicPr>
        <p:blipFill>
          <a:blip r:embed="rId11"/>
          <a:stretch>
            <a:fillRect/>
          </a:stretch>
        </p:blipFill>
        <p:spPr>
          <a:xfrm>
            <a:off x="1454747" y="1115105"/>
            <a:ext cx="9862529" cy="5274893"/>
          </a:xfrm>
          <a:prstGeom prst="rect">
            <a:avLst/>
          </a:prstGeom>
        </p:spPr>
      </p:pic>
      <p:pic>
        <p:nvPicPr>
          <p:cNvPr id="26" name="图片 25">
            <a:extLst>
              <a:ext uri="{FF2B5EF4-FFF2-40B4-BE49-F238E27FC236}">
                <a16:creationId xmlns:a16="http://schemas.microsoft.com/office/drawing/2014/main" id="{E1573F00-D0FE-49C7-A7FC-6E403ABB1B84}"/>
              </a:ext>
            </a:extLst>
          </p:cNvPr>
          <p:cNvPicPr/>
          <p:nvPr/>
        </p:nvPicPr>
        <p:blipFill>
          <a:blip r:embed="rId12"/>
          <a:stretch>
            <a:fillRect/>
          </a:stretch>
        </p:blipFill>
        <p:spPr>
          <a:xfrm>
            <a:off x="1454747" y="1122881"/>
            <a:ext cx="9862528" cy="5294651"/>
          </a:xfrm>
          <a:prstGeom prst="rect">
            <a:avLst/>
          </a:prstGeom>
        </p:spPr>
      </p:pic>
    </p:spTree>
    <p:extLst>
      <p:ext uri="{BB962C8B-B14F-4D97-AF65-F5344CB8AC3E}">
        <p14:creationId xmlns:p14="http://schemas.microsoft.com/office/powerpoint/2010/main" val="3335131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fill="hold"/>
                                        <p:tgtEl>
                                          <p:spTgt spid="18"/>
                                        </p:tgtEl>
                                        <p:attrNameLst>
                                          <p:attrName>ppt_x</p:attrName>
                                        </p:attrNameLst>
                                      </p:cBhvr>
                                      <p:tavLst>
                                        <p:tav tm="0">
                                          <p:val>
                                            <p:strVal val="#ppt_x"/>
                                          </p:val>
                                        </p:tav>
                                        <p:tav tm="100000">
                                          <p:val>
                                            <p:strVal val="#ppt_x"/>
                                          </p:val>
                                        </p:tav>
                                      </p:tavLst>
                                    </p:anim>
                                    <p:anim calcmode="lin" valueType="num">
                                      <p:cBhvr additive="base">
                                        <p:cTn id="14"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ppt_x"/>
                                          </p:val>
                                        </p:tav>
                                        <p:tav tm="100000">
                                          <p:val>
                                            <p:strVal val="#ppt_x"/>
                                          </p:val>
                                        </p:tav>
                                      </p:tavLst>
                                    </p:anim>
                                    <p:anim calcmode="lin" valueType="num">
                                      <p:cBhvr additive="base">
                                        <p:cTn id="20"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anim calcmode="lin" valueType="num">
                                      <p:cBhvr additive="base">
                                        <p:cTn id="25" dur="500" fill="hold"/>
                                        <p:tgtEl>
                                          <p:spTgt spid="20"/>
                                        </p:tgtEl>
                                        <p:attrNameLst>
                                          <p:attrName>ppt_x</p:attrName>
                                        </p:attrNameLst>
                                      </p:cBhvr>
                                      <p:tavLst>
                                        <p:tav tm="0">
                                          <p:val>
                                            <p:strVal val="#ppt_x"/>
                                          </p:val>
                                        </p:tav>
                                        <p:tav tm="100000">
                                          <p:val>
                                            <p:strVal val="#ppt_x"/>
                                          </p:val>
                                        </p:tav>
                                      </p:tavLst>
                                    </p:anim>
                                    <p:anim calcmode="lin" valueType="num">
                                      <p:cBhvr additive="base">
                                        <p:cTn id="26"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1"/>
                                        </p:tgtEl>
                                        <p:attrNameLst>
                                          <p:attrName>style.visibility</p:attrName>
                                        </p:attrNameLst>
                                      </p:cBhvr>
                                      <p:to>
                                        <p:strVal val="visible"/>
                                      </p:to>
                                    </p:set>
                                    <p:anim calcmode="lin" valueType="num">
                                      <p:cBhvr additive="base">
                                        <p:cTn id="31" dur="500" fill="hold"/>
                                        <p:tgtEl>
                                          <p:spTgt spid="21"/>
                                        </p:tgtEl>
                                        <p:attrNameLst>
                                          <p:attrName>ppt_x</p:attrName>
                                        </p:attrNameLst>
                                      </p:cBhvr>
                                      <p:tavLst>
                                        <p:tav tm="0">
                                          <p:val>
                                            <p:strVal val="#ppt_x"/>
                                          </p:val>
                                        </p:tav>
                                        <p:tav tm="100000">
                                          <p:val>
                                            <p:strVal val="#ppt_x"/>
                                          </p:val>
                                        </p:tav>
                                      </p:tavLst>
                                    </p:anim>
                                    <p:anim calcmode="lin" valueType="num">
                                      <p:cBhvr additive="base">
                                        <p:cTn id="3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2"/>
                                        </p:tgtEl>
                                        <p:attrNameLst>
                                          <p:attrName>style.visibility</p:attrName>
                                        </p:attrNameLst>
                                      </p:cBhvr>
                                      <p:to>
                                        <p:strVal val="visible"/>
                                      </p:to>
                                    </p:set>
                                    <p:anim calcmode="lin" valueType="num">
                                      <p:cBhvr additive="base">
                                        <p:cTn id="37" dur="500" fill="hold"/>
                                        <p:tgtEl>
                                          <p:spTgt spid="22"/>
                                        </p:tgtEl>
                                        <p:attrNameLst>
                                          <p:attrName>ppt_x</p:attrName>
                                        </p:attrNameLst>
                                      </p:cBhvr>
                                      <p:tavLst>
                                        <p:tav tm="0">
                                          <p:val>
                                            <p:strVal val="#ppt_x"/>
                                          </p:val>
                                        </p:tav>
                                        <p:tav tm="100000">
                                          <p:val>
                                            <p:strVal val="#ppt_x"/>
                                          </p:val>
                                        </p:tav>
                                      </p:tavLst>
                                    </p:anim>
                                    <p:anim calcmode="lin" valueType="num">
                                      <p:cBhvr additive="base">
                                        <p:cTn id="38"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23"/>
                                        </p:tgtEl>
                                        <p:attrNameLst>
                                          <p:attrName>style.visibility</p:attrName>
                                        </p:attrNameLst>
                                      </p:cBhvr>
                                      <p:to>
                                        <p:strVal val="visible"/>
                                      </p:to>
                                    </p:set>
                                    <p:anim calcmode="lin" valueType="num">
                                      <p:cBhvr additive="base">
                                        <p:cTn id="43" dur="500" fill="hold"/>
                                        <p:tgtEl>
                                          <p:spTgt spid="23"/>
                                        </p:tgtEl>
                                        <p:attrNameLst>
                                          <p:attrName>ppt_x</p:attrName>
                                        </p:attrNameLst>
                                      </p:cBhvr>
                                      <p:tavLst>
                                        <p:tav tm="0">
                                          <p:val>
                                            <p:strVal val="#ppt_x"/>
                                          </p:val>
                                        </p:tav>
                                        <p:tav tm="100000">
                                          <p:val>
                                            <p:strVal val="#ppt_x"/>
                                          </p:val>
                                        </p:tav>
                                      </p:tavLst>
                                    </p:anim>
                                    <p:anim calcmode="lin" valueType="num">
                                      <p:cBhvr additive="base">
                                        <p:cTn id="44"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24"/>
                                        </p:tgtEl>
                                        <p:attrNameLst>
                                          <p:attrName>style.visibility</p:attrName>
                                        </p:attrNameLst>
                                      </p:cBhvr>
                                      <p:to>
                                        <p:strVal val="visible"/>
                                      </p:to>
                                    </p:set>
                                    <p:anim calcmode="lin" valueType="num">
                                      <p:cBhvr additive="base">
                                        <p:cTn id="49" dur="500" fill="hold"/>
                                        <p:tgtEl>
                                          <p:spTgt spid="24"/>
                                        </p:tgtEl>
                                        <p:attrNameLst>
                                          <p:attrName>ppt_x</p:attrName>
                                        </p:attrNameLst>
                                      </p:cBhvr>
                                      <p:tavLst>
                                        <p:tav tm="0">
                                          <p:val>
                                            <p:strVal val="#ppt_x"/>
                                          </p:val>
                                        </p:tav>
                                        <p:tav tm="100000">
                                          <p:val>
                                            <p:strVal val="#ppt_x"/>
                                          </p:val>
                                        </p:tav>
                                      </p:tavLst>
                                    </p:anim>
                                    <p:anim calcmode="lin" valueType="num">
                                      <p:cBhvr additive="base">
                                        <p:cTn id="50"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25"/>
                                        </p:tgtEl>
                                        <p:attrNameLst>
                                          <p:attrName>style.visibility</p:attrName>
                                        </p:attrNameLst>
                                      </p:cBhvr>
                                      <p:to>
                                        <p:strVal val="visible"/>
                                      </p:to>
                                    </p:set>
                                    <p:anim calcmode="lin" valueType="num">
                                      <p:cBhvr additive="base">
                                        <p:cTn id="55" dur="500" fill="hold"/>
                                        <p:tgtEl>
                                          <p:spTgt spid="25"/>
                                        </p:tgtEl>
                                        <p:attrNameLst>
                                          <p:attrName>ppt_x</p:attrName>
                                        </p:attrNameLst>
                                      </p:cBhvr>
                                      <p:tavLst>
                                        <p:tav tm="0">
                                          <p:val>
                                            <p:strVal val="#ppt_x"/>
                                          </p:val>
                                        </p:tav>
                                        <p:tav tm="100000">
                                          <p:val>
                                            <p:strVal val="#ppt_x"/>
                                          </p:val>
                                        </p:tav>
                                      </p:tavLst>
                                    </p:anim>
                                    <p:anim calcmode="lin" valueType="num">
                                      <p:cBhvr additive="base">
                                        <p:cTn id="56"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26"/>
                                        </p:tgtEl>
                                        <p:attrNameLst>
                                          <p:attrName>style.visibility</p:attrName>
                                        </p:attrNameLst>
                                      </p:cBhvr>
                                      <p:to>
                                        <p:strVal val="visible"/>
                                      </p:to>
                                    </p:set>
                                    <p:anim calcmode="lin" valueType="num">
                                      <p:cBhvr additive="base">
                                        <p:cTn id="61" dur="500" fill="hold"/>
                                        <p:tgtEl>
                                          <p:spTgt spid="26"/>
                                        </p:tgtEl>
                                        <p:attrNameLst>
                                          <p:attrName>ppt_x</p:attrName>
                                        </p:attrNameLst>
                                      </p:cBhvr>
                                      <p:tavLst>
                                        <p:tav tm="0">
                                          <p:val>
                                            <p:strVal val="#ppt_x"/>
                                          </p:val>
                                        </p:tav>
                                        <p:tav tm="100000">
                                          <p:val>
                                            <p:strVal val="#ppt_x"/>
                                          </p:val>
                                        </p:tav>
                                      </p:tavLst>
                                    </p:anim>
                                    <p:anim calcmode="lin" valueType="num">
                                      <p:cBhvr additive="base">
                                        <p:cTn id="62"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5f7104f9-89a6-455b-9af1-50e23fb9530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D7233E2-5D13-44E0-948F-FE9DA6AAF5AA}"/>
              </a:ext>
            </a:extLst>
          </p:cNvPr>
          <p:cNvGrpSpPr>
            <a:grpSpLocks noChangeAspect="1"/>
          </p:cNvGrpSpPr>
          <p:nvPr>
            <p:custDataLst>
              <p:tags r:id="rId1"/>
            </p:custDataLst>
          </p:nvPr>
        </p:nvGrpSpPr>
        <p:grpSpPr>
          <a:xfrm>
            <a:off x="802525" y="1422789"/>
            <a:ext cx="10594180" cy="3158808"/>
            <a:chOff x="802525" y="1422789"/>
            <a:chExt cx="10594180" cy="3158808"/>
          </a:xfrm>
        </p:grpSpPr>
        <p:sp>
          <p:nvSpPr>
            <p:cNvPr id="3" name="íṡľíde">
              <a:extLst>
                <a:ext uri="{FF2B5EF4-FFF2-40B4-BE49-F238E27FC236}">
                  <a16:creationId xmlns:a16="http://schemas.microsoft.com/office/drawing/2014/main" id="{465B2187-ED26-4A65-AB91-A4DDAB5C0B12}"/>
                </a:ext>
              </a:extLst>
            </p:cNvPr>
            <p:cNvSpPr txBox="1"/>
            <p:nvPr/>
          </p:nvSpPr>
          <p:spPr>
            <a:xfrm>
              <a:off x="4536146" y="1422789"/>
              <a:ext cx="3119708" cy="710067"/>
            </a:xfrm>
            <a:prstGeom prst="rect">
              <a:avLst/>
            </a:prstGeom>
            <a:noFill/>
          </p:spPr>
          <p:txBody>
            <a:bodyPr wrap="none" lIns="90000" tIns="46800" rIns="90000" bIns="46800">
              <a:normAutofit/>
            </a:bodyPr>
            <a:lstStyle/>
            <a:p>
              <a:pPr algn="ctr"/>
              <a:r>
                <a:rPr lang="en-US" altLang="zh-CN" sz="4000" b="1" dirty="0">
                  <a:solidFill>
                    <a:schemeClr val="tx2"/>
                  </a:solidFill>
                </a:rPr>
                <a:t>contents</a:t>
              </a:r>
              <a:endParaRPr lang="zh-CN" altLang="en-US" sz="4000" b="1" dirty="0">
                <a:solidFill>
                  <a:schemeClr val="tx2"/>
                </a:solidFill>
              </a:endParaRPr>
            </a:p>
          </p:txBody>
        </p:sp>
        <p:sp>
          <p:nvSpPr>
            <p:cNvPr id="4" name="íṩlídé">
              <a:extLst>
                <a:ext uri="{FF2B5EF4-FFF2-40B4-BE49-F238E27FC236}">
                  <a16:creationId xmlns:a16="http://schemas.microsoft.com/office/drawing/2014/main" id="{864EB46C-B34B-4FC4-88CE-199B8E504F3B}"/>
                </a:ext>
              </a:extLst>
            </p:cNvPr>
            <p:cNvSpPr/>
            <p:nvPr/>
          </p:nvSpPr>
          <p:spPr bwMode="auto">
            <a:xfrm>
              <a:off x="1298495" y="3418798"/>
              <a:ext cx="1116124" cy="648072"/>
            </a:xfrm>
            <a:prstGeom prst="rect">
              <a:avLst/>
            </a:prstGeom>
            <a:solidFill>
              <a:schemeClr val="accent1">
                <a:lumMod val="100000"/>
              </a:schemeClr>
            </a:solidFill>
            <a:ln w="19050">
              <a:noFill/>
              <a:round/>
              <a:headEnd/>
              <a:tailEnd/>
            </a:ln>
          </p:spPr>
          <p:txBody>
            <a:bodyPr rot="0" spcFirstLastPara="0" vert="horz" wrap="none" lIns="91440" tIns="45720" rIns="91440" bIns="45720" anchor="ctr" anchorCtr="1" forceAA="0" compatLnSpc="1">
              <a:prstTxWarp prst="textNoShape">
                <a:avLst/>
              </a:prstTxWarp>
              <a:normAutofit/>
            </a:bodyPr>
            <a:lstStyle/>
            <a:p>
              <a:pPr algn="ctr"/>
              <a:r>
                <a:rPr lang="en-US" altLang="zh-CN" sz="2800" dirty="0">
                  <a:solidFill>
                    <a:schemeClr val="bg1">
                      <a:lumMod val="100000"/>
                    </a:schemeClr>
                  </a:solidFill>
                  <a:latin typeface="Impact" panose="020B0806030902050204" pitchFamily="34" charset="0"/>
                </a:rPr>
                <a:t>01</a:t>
              </a:r>
            </a:p>
          </p:txBody>
        </p:sp>
        <p:sp>
          <p:nvSpPr>
            <p:cNvPr id="6" name="ïṧliḓé">
              <a:extLst>
                <a:ext uri="{FF2B5EF4-FFF2-40B4-BE49-F238E27FC236}">
                  <a16:creationId xmlns:a16="http://schemas.microsoft.com/office/drawing/2014/main" id="{2363926C-7FC1-4BA0-91BB-65C85668762F}"/>
                </a:ext>
              </a:extLst>
            </p:cNvPr>
            <p:cNvSpPr txBox="1"/>
            <p:nvPr/>
          </p:nvSpPr>
          <p:spPr bwMode="auto">
            <a:xfrm>
              <a:off x="802525" y="4194000"/>
              <a:ext cx="210806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b="1" dirty="0"/>
                <a:t>实验介绍</a:t>
              </a:r>
              <a:endParaRPr lang="en-US" altLang="zh-CN" sz="1800" b="1" dirty="0"/>
            </a:p>
          </p:txBody>
        </p:sp>
        <p:sp>
          <p:nvSpPr>
            <p:cNvPr id="7" name="íṥḷiḋe">
              <a:extLst>
                <a:ext uri="{FF2B5EF4-FFF2-40B4-BE49-F238E27FC236}">
                  <a16:creationId xmlns:a16="http://schemas.microsoft.com/office/drawing/2014/main" id="{E411932D-C46E-4674-955F-830D2591D1B0}"/>
                </a:ext>
              </a:extLst>
            </p:cNvPr>
            <p:cNvSpPr/>
            <p:nvPr/>
          </p:nvSpPr>
          <p:spPr bwMode="auto">
            <a:xfrm>
              <a:off x="5545168" y="3418798"/>
              <a:ext cx="1116124" cy="648072"/>
            </a:xfrm>
            <a:prstGeom prst="rect">
              <a:avLst/>
            </a:prstGeom>
            <a:solidFill>
              <a:schemeClr val="accent3">
                <a:lumMod val="100000"/>
              </a:schemeClr>
            </a:solidFill>
            <a:ln w="19050">
              <a:noFill/>
              <a:round/>
              <a:headEnd/>
              <a:tailEnd/>
            </a:ln>
          </p:spPr>
          <p:txBody>
            <a:bodyPr rot="0" spcFirstLastPara="0" vert="horz" wrap="none" lIns="91440" tIns="45720" rIns="91440" bIns="45720" anchor="ctr" anchorCtr="1" forceAA="0" compatLnSpc="1">
              <a:prstTxWarp prst="textNoShape">
                <a:avLst/>
              </a:prstTxWarp>
              <a:normAutofit/>
            </a:bodyPr>
            <a:lstStyle/>
            <a:p>
              <a:pPr algn="ctr"/>
              <a:r>
                <a:rPr lang="en-US" altLang="zh-CN" sz="2800">
                  <a:solidFill>
                    <a:schemeClr val="bg1">
                      <a:lumMod val="100000"/>
                    </a:schemeClr>
                  </a:solidFill>
                  <a:latin typeface="Impact" panose="020B0806030902050204" pitchFamily="34" charset="0"/>
                </a:rPr>
                <a:t>03</a:t>
              </a:r>
            </a:p>
          </p:txBody>
        </p:sp>
        <p:sp>
          <p:nvSpPr>
            <p:cNvPr id="9" name="ïṣḷidé">
              <a:extLst>
                <a:ext uri="{FF2B5EF4-FFF2-40B4-BE49-F238E27FC236}">
                  <a16:creationId xmlns:a16="http://schemas.microsoft.com/office/drawing/2014/main" id="{E44379D3-EC86-4464-849E-4C68EC4FA2F4}"/>
                </a:ext>
              </a:extLst>
            </p:cNvPr>
            <p:cNvSpPr txBox="1"/>
            <p:nvPr/>
          </p:nvSpPr>
          <p:spPr bwMode="auto">
            <a:xfrm>
              <a:off x="5045583" y="4194000"/>
              <a:ext cx="210806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b="1" dirty="0"/>
                <a:t>大数据组件</a:t>
              </a:r>
              <a:endParaRPr lang="en-US" altLang="zh-CN" sz="1800" b="1" dirty="0"/>
            </a:p>
          </p:txBody>
        </p:sp>
        <p:sp>
          <p:nvSpPr>
            <p:cNvPr id="10" name="i$ḻídé">
              <a:extLst>
                <a:ext uri="{FF2B5EF4-FFF2-40B4-BE49-F238E27FC236}">
                  <a16:creationId xmlns:a16="http://schemas.microsoft.com/office/drawing/2014/main" id="{462FB06C-D800-46C9-B5B0-94929CD06D70}"/>
                </a:ext>
              </a:extLst>
            </p:cNvPr>
            <p:cNvSpPr/>
            <p:nvPr/>
          </p:nvSpPr>
          <p:spPr bwMode="auto">
            <a:xfrm>
              <a:off x="9784612" y="3418798"/>
              <a:ext cx="1116124" cy="648072"/>
            </a:xfrm>
            <a:prstGeom prst="rect">
              <a:avLst/>
            </a:prstGeom>
            <a:solidFill>
              <a:schemeClr val="accent5">
                <a:lumMod val="100000"/>
              </a:schemeClr>
            </a:solidFill>
            <a:ln w="19050">
              <a:noFill/>
              <a:round/>
              <a:headEnd/>
              <a:tailEnd/>
            </a:ln>
          </p:spPr>
          <p:txBody>
            <a:bodyPr rot="0" spcFirstLastPara="0" vert="horz" wrap="none" lIns="91440" tIns="45720" rIns="91440" bIns="45720" anchor="ctr" anchorCtr="1" forceAA="0" compatLnSpc="1">
              <a:prstTxWarp prst="textNoShape">
                <a:avLst/>
              </a:prstTxWarp>
              <a:normAutofit/>
            </a:bodyPr>
            <a:lstStyle/>
            <a:p>
              <a:pPr algn="ctr"/>
              <a:r>
                <a:rPr lang="en-US" altLang="zh-CN" sz="2800">
                  <a:solidFill>
                    <a:schemeClr val="bg1">
                      <a:lumMod val="100000"/>
                    </a:schemeClr>
                  </a:solidFill>
                  <a:latin typeface="Impact" panose="020B0806030902050204" pitchFamily="34" charset="0"/>
                </a:rPr>
                <a:t>05</a:t>
              </a:r>
            </a:p>
          </p:txBody>
        </p:sp>
        <p:sp>
          <p:nvSpPr>
            <p:cNvPr id="12" name="íṩļïdé">
              <a:extLst>
                <a:ext uri="{FF2B5EF4-FFF2-40B4-BE49-F238E27FC236}">
                  <a16:creationId xmlns:a16="http://schemas.microsoft.com/office/drawing/2014/main" id="{D9418F0D-6062-4083-A57E-8CDCC909DD9C}"/>
                </a:ext>
              </a:extLst>
            </p:cNvPr>
            <p:cNvSpPr txBox="1"/>
            <p:nvPr/>
          </p:nvSpPr>
          <p:spPr bwMode="auto">
            <a:xfrm>
              <a:off x="9288642" y="4194000"/>
              <a:ext cx="210806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1800" b="1" dirty="0"/>
                <a:t>总结</a:t>
              </a:r>
              <a:endParaRPr lang="en-US" altLang="zh-CN" sz="1800" b="1" dirty="0"/>
            </a:p>
          </p:txBody>
        </p:sp>
        <p:sp>
          <p:nvSpPr>
            <p:cNvPr id="13" name="íS1ïdè">
              <a:extLst>
                <a:ext uri="{FF2B5EF4-FFF2-40B4-BE49-F238E27FC236}">
                  <a16:creationId xmlns:a16="http://schemas.microsoft.com/office/drawing/2014/main" id="{1A980A3B-9ED2-469B-969A-315860E1A05A}"/>
                </a:ext>
              </a:extLst>
            </p:cNvPr>
            <p:cNvSpPr/>
            <p:nvPr/>
          </p:nvSpPr>
          <p:spPr bwMode="auto">
            <a:xfrm>
              <a:off x="3420024" y="2132856"/>
              <a:ext cx="1116124" cy="648072"/>
            </a:xfrm>
            <a:prstGeom prst="rect">
              <a:avLst/>
            </a:prstGeom>
            <a:solidFill>
              <a:schemeClr val="accent2">
                <a:lumMod val="100000"/>
              </a:schemeClr>
            </a:solidFill>
            <a:ln w="19050">
              <a:noFill/>
              <a:round/>
              <a:headEnd/>
              <a:tailEnd/>
            </a:ln>
          </p:spPr>
          <p:txBody>
            <a:bodyPr rot="0" spcFirstLastPara="0" vert="horz" wrap="none" lIns="91440" tIns="45720" rIns="91440" bIns="45720" anchor="ctr" anchorCtr="1" forceAA="0" compatLnSpc="1">
              <a:prstTxWarp prst="textNoShape">
                <a:avLst/>
              </a:prstTxWarp>
              <a:normAutofit/>
            </a:bodyPr>
            <a:lstStyle/>
            <a:p>
              <a:pPr algn="ctr"/>
              <a:r>
                <a:rPr lang="en-US" altLang="zh-CN" sz="2800">
                  <a:solidFill>
                    <a:schemeClr val="bg1">
                      <a:lumMod val="100000"/>
                    </a:schemeClr>
                  </a:solidFill>
                  <a:latin typeface="Impact" panose="020B0806030902050204" pitchFamily="34" charset="0"/>
                </a:rPr>
                <a:t>02</a:t>
              </a:r>
            </a:p>
          </p:txBody>
        </p:sp>
        <p:sp>
          <p:nvSpPr>
            <p:cNvPr id="15" name="ïŝļîďé">
              <a:extLst>
                <a:ext uri="{FF2B5EF4-FFF2-40B4-BE49-F238E27FC236}">
                  <a16:creationId xmlns:a16="http://schemas.microsoft.com/office/drawing/2014/main" id="{59F64485-2E59-48EE-A266-0D9B9602E951}"/>
                </a:ext>
              </a:extLst>
            </p:cNvPr>
            <p:cNvSpPr txBox="1"/>
            <p:nvPr/>
          </p:nvSpPr>
          <p:spPr bwMode="auto">
            <a:xfrm>
              <a:off x="2924054" y="2904849"/>
              <a:ext cx="210806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b="1" dirty="0"/>
                <a:t>架构分析</a:t>
              </a:r>
              <a:endParaRPr lang="en-US" altLang="zh-CN" sz="1800" b="1" dirty="0"/>
            </a:p>
          </p:txBody>
        </p:sp>
        <p:sp>
          <p:nvSpPr>
            <p:cNvPr id="16" name="îšľidè">
              <a:extLst>
                <a:ext uri="{FF2B5EF4-FFF2-40B4-BE49-F238E27FC236}">
                  <a16:creationId xmlns:a16="http://schemas.microsoft.com/office/drawing/2014/main" id="{CB26AD4A-54D9-4DAD-ABC0-63D5900CF5CF}"/>
                </a:ext>
              </a:extLst>
            </p:cNvPr>
            <p:cNvSpPr/>
            <p:nvPr/>
          </p:nvSpPr>
          <p:spPr bwMode="auto">
            <a:xfrm>
              <a:off x="7660940" y="2132856"/>
              <a:ext cx="1116124" cy="648072"/>
            </a:xfrm>
            <a:prstGeom prst="rect">
              <a:avLst/>
            </a:prstGeom>
            <a:solidFill>
              <a:schemeClr val="accent4">
                <a:lumMod val="100000"/>
              </a:schemeClr>
            </a:solidFill>
            <a:ln w="19050">
              <a:noFill/>
              <a:round/>
              <a:headEnd/>
              <a:tailEnd/>
            </a:ln>
          </p:spPr>
          <p:txBody>
            <a:bodyPr rot="0" spcFirstLastPara="0" vert="horz" wrap="none" lIns="91440" tIns="45720" rIns="91440" bIns="45720" anchor="ctr" anchorCtr="1" forceAA="0" compatLnSpc="1">
              <a:prstTxWarp prst="textNoShape">
                <a:avLst/>
              </a:prstTxWarp>
              <a:normAutofit/>
            </a:bodyPr>
            <a:lstStyle/>
            <a:p>
              <a:pPr algn="ctr"/>
              <a:r>
                <a:rPr lang="en-US" altLang="zh-CN" sz="2800">
                  <a:solidFill>
                    <a:schemeClr val="bg1">
                      <a:lumMod val="100000"/>
                    </a:schemeClr>
                  </a:solidFill>
                  <a:latin typeface="Impact" panose="020B0806030902050204" pitchFamily="34" charset="0"/>
                </a:rPr>
                <a:t>04</a:t>
              </a:r>
            </a:p>
          </p:txBody>
        </p:sp>
        <p:sp>
          <p:nvSpPr>
            <p:cNvPr id="18" name="išľiďe">
              <a:extLst>
                <a:ext uri="{FF2B5EF4-FFF2-40B4-BE49-F238E27FC236}">
                  <a16:creationId xmlns:a16="http://schemas.microsoft.com/office/drawing/2014/main" id="{D7085A83-AAA3-43DD-8260-6C1189405841}"/>
                </a:ext>
              </a:extLst>
            </p:cNvPr>
            <p:cNvSpPr txBox="1"/>
            <p:nvPr/>
          </p:nvSpPr>
          <p:spPr bwMode="auto">
            <a:xfrm>
              <a:off x="7167112" y="2904849"/>
              <a:ext cx="210806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1800" b="1" dirty="0"/>
                <a:t>实验流程</a:t>
              </a:r>
              <a:endParaRPr lang="en-US" altLang="zh-CN" sz="1800" b="1" dirty="0"/>
            </a:p>
          </p:txBody>
        </p:sp>
      </p:grpSp>
    </p:spTree>
    <p:extLst>
      <p:ext uri="{BB962C8B-B14F-4D97-AF65-F5344CB8AC3E}">
        <p14:creationId xmlns:p14="http://schemas.microsoft.com/office/powerpoint/2010/main" val="42231993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3B7C802-D277-40AB-94C7-BD33AF85E281}"/>
              </a:ext>
            </a:extLst>
          </p:cNvPr>
          <p:cNvSpPr>
            <a:spLocks noGrp="1"/>
          </p:cNvSpPr>
          <p:nvPr>
            <p:ph type="title"/>
          </p:nvPr>
        </p:nvSpPr>
        <p:spPr/>
        <p:txBody>
          <a:bodyPr/>
          <a:lstStyle/>
          <a:p>
            <a:r>
              <a:rPr lang="zh-CN" altLang="en-US" dirty="0"/>
              <a:t>总结</a:t>
            </a:r>
          </a:p>
        </p:txBody>
      </p:sp>
      <p:sp>
        <p:nvSpPr>
          <p:cNvPr id="6" name="文本框 5">
            <a:extLst>
              <a:ext uri="{FF2B5EF4-FFF2-40B4-BE49-F238E27FC236}">
                <a16:creationId xmlns:a16="http://schemas.microsoft.com/office/drawing/2014/main" id="{3D76F434-B2D0-4E1D-A5E4-BA733399408A}"/>
              </a:ext>
            </a:extLst>
          </p:cNvPr>
          <p:cNvSpPr txBox="1"/>
          <p:nvPr/>
        </p:nvSpPr>
        <p:spPr>
          <a:xfrm>
            <a:off x="669924" y="1327860"/>
            <a:ext cx="5561866" cy="4613442"/>
          </a:xfrm>
          <a:prstGeom prst="rect">
            <a:avLst/>
          </a:prstGeom>
          <a:noFill/>
        </p:spPr>
        <p:txBody>
          <a:bodyPr wrap="square">
            <a:spAutoFit/>
          </a:bodyPr>
          <a:lstStyle/>
          <a:p>
            <a:pPr>
              <a:lnSpc>
                <a:spcPct val="150000"/>
              </a:lnSpc>
            </a:pPr>
            <a:r>
              <a:rPr lang="zh-CN" altLang="en-US" dirty="0"/>
              <a:t>综合实验四是 Hive+Presto 的使用，Hive 是数据仓库，其作用是用 Hive 语句来代替编写复杂的 MapReduce 程序。Presto 是完全基于内存的并⾏计算，分布式 SQL 交互式查询引擎，支持多种数据源与存储格式，也是通过 sql 语句来进行查询，但比 Hive 要快，是一种基于内存的查询引擎，通过这个实验了解了 Presto工具以及它的基本使用。</a:t>
            </a:r>
            <a:endParaRPr lang="en-US" altLang="zh-CN" dirty="0"/>
          </a:p>
          <a:p>
            <a:pPr>
              <a:lnSpc>
                <a:spcPct val="150000"/>
              </a:lnSpc>
            </a:pPr>
            <a:endParaRPr lang="zh-CN" altLang="en-US" dirty="0"/>
          </a:p>
          <a:p>
            <a:pPr>
              <a:lnSpc>
                <a:spcPct val="150000"/>
              </a:lnSpc>
            </a:pPr>
            <a:r>
              <a:rPr lang="zh-CN" altLang="en-US" dirty="0"/>
              <a:t>综合实验六是关于 Hbase 的，比较简单，包含了 Hbase 的一些基本存储操作以及一些分区操作还有过滤操作。</a:t>
            </a:r>
          </a:p>
        </p:txBody>
      </p:sp>
      <p:pic>
        <p:nvPicPr>
          <p:cNvPr id="7" name="图片 6">
            <a:extLst>
              <a:ext uri="{FF2B5EF4-FFF2-40B4-BE49-F238E27FC236}">
                <a16:creationId xmlns:a16="http://schemas.microsoft.com/office/drawing/2014/main" id="{0D87F661-BA99-4C53-8225-A83A849040B1}"/>
              </a:ext>
            </a:extLst>
          </p:cNvPr>
          <p:cNvPicPr/>
          <p:nvPr/>
        </p:nvPicPr>
        <p:blipFill>
          <a:blip r:embed="rId2"/>
          <a:stretch>
            <a:fillRect/>
          </a:stretch>
        </p:blipFill>
        <p:spPr>
          <a:xfrm>
            <a:off x="6503797" y="1327860"/>
            <a:ext cx="5274310" cy="2457756"/>
          </a:xfrm>
          <a:prstGeom prst="rect">
            <a:avLst/>
          </a:prstGeom>
        </p:spPr>
      </p:pic>
      <p:pic>
        <p:nvPicPr>
          <p:cNvPr id="8" name="图片 7">
            <a:extLst>
              <a:ext uri="{FF2B5EF4-FFF2-40B4-BE49-F238E27FC236}">
                <a16:creationId xmlns:a16="http://schemas.microsoft.com/office/drawing/2014/main" id="{575D2230-0A4B-454E-A06F-084BC8992B4B}"/>
              </a:ext>
            </a:extLst>
          </p:cNvPr>
          <p:cNvPicPr/>
          <p:nvPr/>
        </p:nvPicPr>
        <p:blipFill>
          <a:blip r:embed="rId3"/>
          <a:stretch>
            <a:fillRect/>
          </a:stretch>
        </p:blipFill>
        <p:spPr>
          <a:xfrm>
            <a:off x="6503797" y="3483547"/>
            <a:ext cx="5274310" cy="2606040"/>
          </a:xfrm>
          <a:prstGeom prst="rect">
            <a:avLst/>
          </a:prstGeom>
        </p:spPr>
      </p:pic>
    </p:spTree>
    <p:extLst>
      <p:ext uri="{BB962C8B-B14F-4D97-AF65-F5344CB8AC3E}">
        <p14:creationId xmlns:p14="http://schemas.microsoft.com/office/powerpoint/2010/main" val="722959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2"/>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7665303" y="2485049"/>
            <a:ext cx="5162552" cy="1621509"/>
          </a:xfrm>
        </p:spPr>
        <p:txBody>
          <a:bodyPr/>
          <a:lstStyle/>
          <a:p>
            <a:r>
              <a:rPr lang="zh-CN" altLang="en-US" dirty="0"/>
              <a:t>谢谢观看</a:t>
            </a:r>
            <a:br>
              <a:rPr lang="en-US" altLang="zh-CN" dirty="0"/>
            </a:br>
            <a:endParaRPr lang="zh-CN" altLang="en-US" dirty="0"/>
          </a:p>
        </p:txBody>
      </p:sp>
    </p:spTree>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656863" y="2980456"/>
            <a:ext cx="4903783" cy="895350"/>
          </a:xfrm>
        </p:spPr>
        <p:txBody>
          <a:bodyPr/>
          <a:lstStyle/>
          <a:p>
            <a:r>
              <a:rPr lang="zh-CN" altLang="en-US" dirty="0"/>
              <a:t>实验介绍</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56863" y="214108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B5B940A-5FBD-407C-8C47-E550128E3542}"/>
              </a:ext>
            </a:extLst>
          </p:cNvPr>
          <p:cNvSpPr>
            <a:spLocks noGrp="1"/>
          </p:cNvSpPr>
          <p:nvPr>
            <p:ph type="title"/>
          </p:nvPr>
        </p:nvSpPr>
        <p:spPr/>
        <p:txBody>
          <a:bodyPr/>
          <a:lstStyle/>
          <a:p>
            <a:r>
              <a:rPr lang="zh-CN" altLang="en-US" dirty="0"/>
              <a:t>实验三：大数据实时分析处理</a:t>
            </a:r>
          </a:p>
        </p:txBody>
      </p:sp>
      <p:sp>
        <p:nvSpPr>
          <p:cNvPr id="24" name="文本框 23">
            <a:extLst>
              <a:ext uri="{FF2B5EF4-FFF2-40B4-BE49-F238E27FC236}">
                <a16:creationId xmlns:a16="http://schemas.microsoft.com/office/drawing/2014/main" id="{D4293575-53DE-423A-A91E-A1F8390E4722}"/>
              </a:ext>
            </a:extLst>
          </p:cNvPr>
          <p:cNvSpPr txBox="1"/>
          <p:nvPr/>
        </p:nvSpPr>
        <p:spPr>
          <a:xfrm>
            <a:off x="1324278" y="1397675"/>
            <a:ext cx="9541853" cy="2031325"/>
          </a:xfrm>
          <a:prstGeom prst="rect">
            <a:avLst/>
          </a:prstGeom>
          <a:noFill/>
        </p:spPr>
        <p:txBody>
          <a:bodyPr wrap="square">
            <a:spAutoFit/>
          </a:bodyPr>
          <a:lstStyle/>
          <a:p>
            <a:r>
              <a:rPr lang="zh-CN" altLang="en-US" sz="1800" b="1" dirty="0"/>
              <a:t>      本实验是一个大数据实时分析处理的实验，模拟了电商平台双十一销售商品，通过大数据</a:t>
            </a:r>
            <a:endParaRPr lang="en-US" altLang="zh-CN" sz="1800" b="1" dirty="0"/>
          </a:p>
          <a:p>
            <a:endParaRPr lang="en-US" altLang="zh-CN" b="1" dirty="0"/>
          </a:p>
          <a:p>
            <a:r>
              <a:rPr lang="zh-CN" altLang="en-US" sz="1800" b="1" dirty="0"/>
              <a:t>技术的各种组件，搜集各个卖家卖出商品的情况，然后对每个卖家的销售情况进行分析，并</a:t>
            </a:r>
            <a:endParaRPr lang="en-US" altLang="zh-CN" sz="1800" b="1" dirty="0"/>
          </a:p>
          <a:p>
            <a:endParaRPr lang="en-US" altLang="zh-CN" b="1" dirty="0"/>
          </a:p>
          <a:p>
            <a:r>
              <a:rPr lang="zh-CN" altLang="en-US" sz="1800" b="1" dirty="0"/>
              <a:t>对所有卖家的总销售情况进行分析，最后通过柱状图输出实时的，销售额前五的卖家，以及</a:t>
            </a:r>
            <a:endParaRPr lang="en-US" altLang="zh-CN" sz="1800" b="1" dirty="0"/>
          </a:p>
          <a:p>
            <a:endParaRPr lang="en-US" altLang="zh-CN" b="1" dirty="0"/>
          </a:p>
          <a:p>
            <a:r>
              <a:rPr lang="zh-CN" altLang="en-US" sz="1800" b="1" dirty="0"/>
              <a:t>所有卖家的总销售额。</a:t>
            </a:r>
            <a:endParaRPr lang="zh-CN" altLang="en-US" dirty="0"/>
          </a:p>
        </p:txBody>
      </p:sp>
      <p:pic>
        <p:nvPicPr>
          <p:cNvPr id="30" name="图片 29">
            <a:extLst>
              <a:ext uri="{FF2B5EF4-FFF2-40B4-BE49-F238E27FC236}">
                <a16:creationId xmlns:a16="http://schemas.microsoft.com/office/drawing/2014/main" id="{78A85FA2-DB31-4660-8499-93CA98DF3112}"/>
              </a:ext>
            </a:extLst>
          </p:cNvPr>
          <p:cNvPicPr>
            <a:picLocks noChangeAspect="1"/>
          </p:cNvPicPr>
          <p:nvPr/>
        </p:nvPicPr>
        <p:blipFill>
          <a:blip r:embed="rId2"/>
          <a:stretch>
            <a:fillRect/>
          </a:stretch>
        </p:blipFill>
        <p:spPr>
          <a:xfrm>
            <a:off x="3298966" y="723903"/>
            <a:ext cx="5857875" cy="5619750"/>
          </a:xfrm>
          <a:prstGeom prst="rect">
            <a:avLst/>
          </a:prstGeom>
        </p:spPr>
      </p:pic>
      <p:pic>
        <p:nvPicPr>
          <p:cNvPr id="26" name="图片 25">
            <a:extLst>
              <a:ext uri="{FF2B5EF4-FFF2-40B4-BE49-F238E27FC236}">
                <a16:creationId xmlns:a16="http://schemas.microsoft.com/office/drawing/2014/main" id="{68FE8993-56C0-425C-832C-314D98BCC21C}"/>
              </a:ext>
            </a:extLst>
          </p:cNvPr>
          <p:cNvPicPr>
            <a:picLocks noChangeAspect="1"/>
          </p:cNvPicPr>
          <p:nvPr/>
        </p:nvPicPr>
        <p:blipFill>
          <a:blip r:embed="rId3"/>
          <a:stretch>
            <a:fillRect/>
          </a:stretch>
        </p:blipFill>
        <p:spPr>
          <a:xfrm>
            <a:off x="3294326" y="723903"/>
            <a:ext cx="5862515" cy="5619749"/>
          </a:xfrm>
          <a:prstGeom prst="rect">
            <a:avLst/>
          </a:prstGeom>
        </p:spPr>
      </p:pic>
    </p:spTree>
    <p:extLst>
      <p:ext uri="{BB962C8B-B14F-4D97-AF65-F5344CB8AC3E}">
        <p14:creationId xmlns:p14="http://schemas.microsoft.com/office/powerpoint/2010/main" val="1786666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ppt_x"/>
                                          </p:val>
                                        </p:tav>
                                        <p:tav tm="100000">
                                          <p:val>
                                            <p:strVal val="#ppt_x"/>
                                          </p:val>
                                        </p:tav>
                                      </p:tavLst>
                                    </p:anim>
                                    <p:anim calcmode="lin" valueType="num">
                                      <p:cBhvr additive="base">
                                        <p:cTn id="8"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6"/>
                                        </p:tgtEl>
                                        <p:attrNameLst>
                                          <p:attrName>style.visibility</p:attrName>
                                        </p:attrNameLst>
                                      </p:cBhvr>
                                      <p:to>
                                        <p:strVal val="visible"/>
                                      </p:to>
                                    </p:set>
                                    <p:anim calcmode="lin" valueType="num">
                                      <p:cBhvr additive="base">
                                        <p:cTn id="13" dur="500" fill="hold"/>
                                        <p:tgtEl>
                                          <p:spTgt spid="26"/>
                                        </p:tgtEl>
                                        <p:attrNameLst>
                                          <p:attrName>ppt_x</p:attrName>
                                        </p:attrNameLst>
                                      </p:cBhvr>
                                      <p:tavLst>
                                        <p:tav tm="0">
                                          <p:val>
                                            <p:strVal val="#ppt_x"/>
                                          </p:val>
                                        </p:tav>
                                        <p:tav tm="100000">
                                          <p:val>
                                            <p:strVal val="#ppt_x"/>
                                          </p:val>
                                        </p:tav>
                                      </p:tavLst>
                                    </p:anim>
                                    <p:anim calcmode="lin" valueType="num">
                                      <p:cBhvr additive="base">
                                        <p:cTn id="14"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656863" y="2981325"/>
            <a:ext cx="4903783" cy="895350"/>
          </a:xfrm>
        </p:spPr>
        <p:txBody>
          <a:bodyPr/>
          <a:lstStyle/>
          <a:p>
            <a:r>
              <a:rPr lang="zh-CN" altLang="en-US" dirty="0"/>
              <a:t>架构分析</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56863" y="214108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12107474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856F60B2-31CF-4171-B71D-C265FC2E859C}"/>
              </a:ext>
            </a:extLst>
          </p:cNvPr>
          <p:cNvSpPr>
            <a:spLocks noGrp="1"/>
          </p:cNvSpPr>
          <p:nvPr>
            <p:ph type="title"/>
          </p:nvPr>
        </p:nvSpPr>
        <p:spPr/>
        <p:txBody>
          <a:bodyPr/>
          <a:lstStyle/>
          <a:p>
            <a:r>
              <a:rPr lang="zh-CN" altLang="en-US" dirty="0"/>
              <a:t>架构分析</a:t>
            </a:r>
          </a:p>
        </p:txBody>
      </p:sp>
      <p:pic>
        <p:nvPicPr>
          <p:cNvPr id="7" name="图片 6" descr="图示&#10;&#10;描述已自动生成">
            <a:extLst>
              <a:ext uri="{FF2B5EF4-FFF2-40B4-BE49-F238E27FC236}">
                <a16:creationId xmlns:a16="http://schemas.microsoft.com/office/drawing/2014/main" id="{168A2DE6-48DE-4A5C-9276-3FF59819A9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9923" y="1208215"/>
            <a:ext cx="10850563" cy="5032248"/>
          </a:xfrm>
          <a:prstGeom prst="rect">
            <a:avLst/>
          </a:prstGeom>
        </p:spPr>
      </p:pic>
    </p:spTree>
    <p:extLst>
      <p:ext uri="{BB962C8B-B14F-4D97-AF65-F5344CB8AC3E}">
        <p14:creationId xmlns:p14="http://schemas.microsoft.com/office/powerpoint/2010/main" val="2671294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656863" y="2981325"/>
            <a:ext cx="4903783" cy="895350"/>
          </a:xfrm>
        </p:spPr>
        <p:txBody>
          <a:bodyPr/>
          <a:lstStyle/>
          <a:p>
            <a:r>
              <a:rPr lang="zh-CN" altLang="en-US" dirty="0"/>
              <a:t>大数据组件</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56863" y="214108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41509205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a:extLst>
              <a:ext uri="{FF2B5EF4-FFF2-40B4-BE49-F238E27FC236}">
                <a16:creationId xmlns:a16="http://schemas.microsoft.com/office/drawing/2014/main" id="{6135BC1C-178E-4462-BB55-D5384503F7C1}"/>
              </a:ext>
            </a:extLst>
          </p:cNvPr>
          <p:cNvPicPr>
            <a:picLocks noChangeAspect="1"/>
          </p:cNvPicPr>
          <p:nvPr/>
        </p:nvPicPr>
        <p:blipFill>
          <a:blip r:embed="rId3"/>
          <a:stretch>
            <a:fillRect/>
          </a:stretch>
        </p:blipFill>
        <p:spPr>
          <a:xfrm>
            <a:off x="477494" y="4326789"/>
            <a:ext cx="4391378" cy="1780613"/>
          </a:xfrm>
          <a:prstGeom prst="rect">
            <a:avLst/>
          </a:prstGeom>
        </p:spPr>
      </p:pic>
      <p:sp>
        <p:nvSpPr>
          <p:cNvPr id="2" name="标题 1">
            <a:extLst>
              <a:ext uri="{FF2B5EF4-FFF2-40B4-BE49-F238E27FC236}">
                <a16:creationId xmlns:a16="http://schemas.microsoft.com/office/drawing/2014/main" id="{2F969455-93F3-4849-9FF2-A586B50A5DB9}"/>
              </a:ext>
            </a:extLst>
          </p:cNvPr>
          <p:cNvSpPr>
            <a:spLocks noGrp="1"/>
          </p:cNvSpPr>
          <p:nvPr>
            <p:ph type="title"/>
          </p:nvPr>
        </p:nvSpPr>
        <p:spPr/>
        <p:txBody>
          <a:bodyPr/>
          <a:lstStyle/>
          <a:p>
            <a:r>
              <a:rPr lang="zh-CN" altLang="en-US" dirty="0"/>
              <a:t>核心组件</a:t>
            </a:r>
          </a:p>
        </p:txBody>
      </p:sp>
      <p:grpSp>
        <p:nvGrpSpPr>
          <p:cNvPr id="5" name="2acf26f0-9a9a-4492-a32b-8545e2447d1c"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353A8115-3C62-4014-A9AD-86FE42BF5037}"/>
              </a:ext>
            </a:extLst>
          </p:cNvPr>
          <p:cNvGrpSpPr>
            <a:grpSpLocks noChangeAspect="1"/>
          </p:cNvGrpSpPr>
          <p:nvPr>
            <p:custDataLst>
              <p:tags r:id="rId1"/>
            </p:custDataLst>
          </p:nvPr>
        </p:nvGrpSpPr>
        <p:grpSpPr>
          <a:xfrm>
            <a:off x="146304" y="1674000"/>
            <a:ext cx="11704320" cy="3878287"/>
            <a:chOff x="146304" y="1674000"/>
            <a:chExt cx="11704320" cy="3878287"/>
          </a:xfrm>
        </p:grpSpPr>
        <p:grpSp>
          <p:nvGrpSpPr>
            <p:cNvPr id="6" name="iṥļiďê">
              <a:extLst>
                <a:ext uri="{FF2B5EF4-FFF2-40B4-BE49-F238E27FC236}">
                  <a16:creationId xmlns:a16="http://schemas.microsoft.com/office/drawing/2014/main" id="{B6511138-BA84-43F2-8015-06E62C82BA68}"/>
                </a:ext>
              </a:extLst>
            </p:cNvPr>
            <p:cNvGrpSpPr/>
            <p:nvPr/>
          </p:nvGrpSpPr>
          <p:grpSpPr>
            <a:xfrm>
              <a:off x="4236704" y="1814874"/>
              <a:ext cx="3718592" cy="3737413"/>
              <a:chOff x="4244229" y="1752916"/>
              <a:chExt cx="3718592" cy="3737413"/>
            </a:xfrm>
          </p:grpSpPr>
          <p:sp>
            <p:nvSpPr>
              <p:cNvPr id="15" name="íŝľîḋè">
                <a:extLst>
                  <a:ext uri="{FF2B5EF4-FFF2-40B4-BE49-F238E27FC236}">
                    <a16:creationId xmlns:a16="http://schemas.microsoft.com/office/drawing/2014/main" id="{59AD47BB-54C9-41DB-BA5F-621EEFA787D5}"/>
                  </a:ext>
                </a:extLst>
              </p:cNvPr>
              <p:cNvSpPr/>
              <p:nvPr/>
            </p:nvSpPr>
            <p:spPr>
              <a:xfrm rot="16200000" flipH="1" flipV="1">
                <a:off x="5975582" y="2637414"/>
                <a:ext cx="1987237" cy="1987240"/>
              </a:xfrm>
              <a:prstGeom prst="arc">
                <a:avLst>
                  <a:gd name="adj1" fmla="val 10736977"/>
                  <a:gd name="adj2" fmla="val 0"/>
                </a:avLst>
              </a:prstGeom>
              <a:ln w="19050">
                <a:solidFill>
                  <a:schemeClr val="accent4"/>
                </a:solidFill>
                <a:prstDash val="solid"/>
              </a:ln>
            </p:spPr>
            <p:style>
              <a:lnRef idx="1">
                <a:schemeClr val="accent1"/>
              </a:lnRef>
              <a:fillRef idx="0">
                <a:schemeClr val="accent1"/>
              </a:fillRef>
              <a:effectRef idx="0">
                <a:schemeClr val="accent1"/>
              </a:effectRef>
              <a:fontRef idx="minor">
                <a:schemeClr val="tx1"/>
              </a:fontRef>
            </p:style>
            <p:txBody>
              <a:bodyPr anchor="ctr"/>
              <a:lstStyle/>
              <a:p>
                <a:pPr algn="ctr"/>
                <a:endParaRPr/>
              </a:p>
            </p:txBody>
          </p:sp>
          <p:sp>
            <p:nvSpPr>
              <p:cNvPr id="16" name="işḷíḍé">
                <a:extLst>
                  <a:ext uri="{FF2B5EF4-FFF2-40B4-BE49-F238E27FC236}">
                    <a16:creationId xmlns:a16="http://schemas.microsoft.com/office/drawing/2014/main" id="{A07817D1-ED3D-48F0-A959-512B53854CCD}"/>
                  </a:ext>
                </a:extLst>
              </p:cNvPr>
              <p:cNvSpPr/>
              <p:nvPr/>
            </p:nvSpPr>
            <p:spPr>
              <a:xfrm rot="5400000" flipH="1" flipV="1">
                <a:off x="4244230" y="2637413"/>
                <a:ext cx="1987237" cy="1987240"/>
              </a:xfrm>
              <a:prstGeom prst="arc">
                <a:avLst>
                  <a:gd name="adj1" fmla="val 10736977"/>
                  <a:gd name="adj2" fmla="val 0"/>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txBody>
              <a:bodyPr anchor="ctr"/>
              <a:lstStyle/>
              <a:p>
                <a:pPr algn="ctr"/>
                <a:endParaRPr/>
              </a:p>
            </p:txBody>
          </p:sp>
          <p:sp>
            <p:nvSpPr>
              <p:cNvPr id="17" name="iṥľiḑè">
                <a:extLst>
                  <a:ext uri="{FF2B5EF4-FFF2-40B4-BE49-F238E27FC236}">
                    <a16:creationId xmlns:a16="http://schemas.microsoft.com/office/drawing/2014/main" id="{C6FC70BC-049E-49A7-84A7-48BFFF3B3974}"/>
                  </a:ext>
                </a:extLst>
              </p:cNvPr>
              <p:cNvSpPr/>
              <p:nvPr/>
            </p:nvSpPr>
            <p:spPr>
              <a:xfrm rot="10800000" flipH="1" flipV="1">
                <a:off x="5102382" y="1752916"/>
                <a:ext cx="1987237" cy="1987240"/>
              </a:xfrm>
              <a:prstGeom prst="arc">
                <a:avLst>
                  <a:gd name="adj1" fmla="val 10736977"/>
                  <a:gd name="adj2" fmla="val 0"/>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txBody>
              <a:bodyPr anchor="ctr"/>
              <a:lstStyle/>
              <a:p>
                <a:pPr algn="ctr"/>
                <a:endParaRPr/>
              </a:p>
            </p:txBody>
          </p:sp>
          <p:sp>
            <p:nvSpPr>
              <p:cNvPr id="18" name="íśľíḍè">
                <a:extLst>
                  <a:ext uri="{FF2B5EF4-FFF2-40B4-BE49-F238E27FC236}">
                    <a16:creationId xmlns:a16="http://schemas.microsoft.com/office/drawing/2014/main" id="{A4CE5CA4-5A5A-4AA1-9726-4AB7188A0961}"/>
                  </a:ext>
                </a:extLst>
              </p:cNvPr>
              <p:cNvSpPr/>
              <p:nvPr/>
            </p:nvSpPr>
            <p:spPr>
              <a:xfrm rot="10800000" flipH="1">
                <a:off x="5102383" y="3503089"/>
                <a:ext cx="1987237" cy="1987240"/>
              </a:xfrm>
              <a:prstGeom prst="arc">
                <a:avLst>
                  <a:gd name="adj1" fmla="val 10736977"/>
                  <a:gd name="adj2" fmla="val 0"/>
                </a:avLst>
              </a:prstGeom>
              <a:ln w="1905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anchor="ctr"/>
              <a:lstStyle/>
              <a:p>
                <a:pPr algn="ctr"/>
                <a:endParaRPr/>
              </a:p>
            </p:txBody>
          </p:sp>
          <p:sp>
            <p:nvSpPr>
              <p:cNvPr id="19" name="iṩľîdè">
                <a:extLst>
                  <a:ext uri="{FF2B5EF4-FFF2-40B4-BE49-F238E27FC236}">
                    <a16:creationId xmlns:a16="http://schemas.microsoft.com/office/drawing/2014/main" id="{47F18859-2A26-4C9C-8CE2-1B056C216BCD}"/>
                  </a:ext>
                </a:extLst>
              </p:cNvPr>
              <p:cNvSpPr/>
              <p:nvPr/>
            </p:nvSpPr>
            <p:spPr>
              <a:xfrm>
                <a:off x="4267200" y="1802233"/>
                <a:ext cx="3657600" cy="3657600"/>
              </a:xfrm>
              <a:prstGeom prst="diamond">
                <a:avLst/>
              </a:prstGeom>
              <a:solidFill>
                <a:schemeClr val="bg2">
                  <a:lumMod val="100000"/>
                </a:schemeClr>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2">
                        <a:lumMod val="100000"/>
                      </a:schemeClr>
                    </a:solidFill>
                    <a:prstDash val="solid"/>
                    <a:round/>
                    <a:headEnd type="none" w="med" len="med"/>
                    <a:tailEnd type="none" w="med" len="med"/>
                  </a14:hiddenLine>
                </a:ext>
              </a:extLst>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endParaRPr/>
              </a:p>
            </p:txBody>
          </p:sp>
          <p:grpSp>
            <p:nvGrpSpPr>
              <p:cNvPr id="20" name="íṧļiḑe">
                <a:extLst>
                  <a:ext uri="{FF2B5EF4-FFF2-40B4-BE49-F238E27FC236}">
                    <a16:creationId xmlns:a16="http://schemas.microsoft.com/office/drawing/2014/main" id="{8C5A3802-D86F-42F4-90CB-D832A9E179A1}"/>
                  </a:ext>
                </a:extLst>
              </p:cNvPr>
              <p:cNvGrpSpPr/>
              <p:nvPr/>
            </p:nvGrpSpPr>
            <p:grpSpPr>
              <a:xfrm>
                <a:off x="4614672" y="2149705"/>
                <a:ext cx="1426464" cy="1426464"/>
                <a:chOff x="3461004" y="1700112"/>
                <a:chExt cx="1069848" cy="1069848"/>
              </a:xfrm>
            </p:grpSpPr>
            <p:sp>
              <p:nvSpPr>
                <p:cNvPr id="34" name="ïṣḻíďé">
                  <a:extLst>
                    <a:ext uri="{FF2B5EF4-FFF2-40B4-BE49-F238E27FC236}">
                      <a16:creationId xmlns:a16="http://schemas.microsoft.com/office/drawing/2014/main" id="{9E8F1DB8-6B1B-424B-8143-DE713B439196}"/>
                    </a:ext>
                  </a:extLst>
                </p:cNvPr>
                <p:cNvSpPr/>
                <p:nvPr/>
              </p:nvSpPr>
              <p:spPr>
                <a:xfrm>
                  <a:off x="3461004" y="1700112"/>
                  <a:ext cx="1069848" cy="1069848"/>
                </a:xfrm>
                <a:prstGeom prst="ellipse">
                  <a:avLst/>
                </a:prstGeom>
                <a:ln w="381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endParaRPr/>
                </a:p>
              </p:txBody>
            </p:sp>
            <p:sp>
              <p:nvSpPr>
                <p:cNvPr id="35" name="íSḷiḑê">
                  <a:extLst>
                    <a:ext uri="{FF2B5EF4-FFF2-40B4-BE49-F238E27FC236}">
                      <a16:creationId xmlns:a16="http://schemas.microsoft.com/office/drawing/2014/main" id="{53A2CA66-B004-43D8-8698-33AB6CDEAB87}"/>
                    </a:ext>
                  </a:extLst>
                </p:cNvPr>
                <p:cNvSpPr/>
                <p:nvPr/>
              </p:nvSpPr>
              <p:spPr>
                <a:xfrm>
                  <a:off x="3513229" y="1752337"/>
                  <a:ext cx="965397" cy="965397"/>
                </a:xfrm>
                <a:prstGeom prst="ellipse">
                  <a:avLst/>
                </a:prstGeom>
                <a:ln w="38100"/>
              </p:spPr>
              <p:style>
                <a:lnRef idx="0">
                  <a:scrgbClr r="0" g="0" b="0"/>
                </a:lnRef>
                <a:fillRef idx="0">
                  <a:scrgbClr r="0" g="0" b="0"/>
                </a:fillRef>
                <a:effectRef idx="0">
                  <a:scrgbClr r="0" g="0" b="0"/>
                </a:effectRef>
                <a:fontRef idx="minor">
                  <a:schemeClr val="lt1"/>
                </a:fontRef>
              </p:style>
              <p:txBody>
                <a:bodyPr anchor="ctr"/>
                <a:lstStyle/>
                <a:p>
                  <a:pPr algn="ctr"/>
                  <a:endParaRPr/>
                </a:p>
              </p:txBody>
            </p:sp>
          </p:grpSp>
          <p:sp>
            <p:nvSpPr>
              <p:cNvPr id="21" name="îsḻïḍê">
                <a:extLst>
                  <a:ext uri="{FF2B5EF4-FFF2-40B4-BE49-F238E27FC236}">
                    <a16:creationId xmlns:a16="http://schemas.microsoft.com/office/drawing/2014/main" id="{35073B18-42CF-4987-B9FE-B8AFC2BF25F4}"/>
                  </a:ext>
                </a:extLst>
              </p:cNvPr>
              <p:cNvSpPr/>
              <p:nvPr/>
            </p:nvSpPr>
            <p:spPr bwMode="auto">
              <a:xfrm>
                <a:off x="5112439" y="2585625"/>
                <a:ext cx="430931" cy="554624"/>
              </a:xfrm>
              <a:custGeom>
                <a:avLst/>
                <a:gdLst/>
                <a:ahLst/>
                <a:cxnLst>
                  <a:cxn ang="0">
                    <a:pos x="25" y="46"/>
                  </a:cxn>
                  <a:cxn ang="0">
                    <a:pos x="1" y="64"/>
                  </a:cxn>
                  <a:cxn ang="0">
                    <a:pos x="0" y="62"/>
                  </a:cxn>
                  <a:cxn ang="0">
                    <a:pos x="1" y="61"/>
                  </a:cxn>
                  <a:cxn ang="0">
                    <a:pos x="22" y="46"/>
                  </a:cxn>
                  <a:cxn ang="0">
                    <a:pos x="1" y="36"/>
                  </a:cxn>
                  <a:cxn ang="0">
                    <a:pos x="24" y="41"/>
                  </a:cxn>
                  <a:cxn ang="0">
                    <a:pos x="27" y="31"/>
                  </a:cxn>
                  <a:cxn ang="0">
                    <a:pos x="7" y="18"/>
                  </a:cxn>
                  <a:cxn ang="0">
                    <a:pos x="27" y="28"/>
                  </a:cxn>
                  <a:cxn ang="0">
                    <a:pos x="28" y="21"/>
                  </a:cxn>
                  <a:cxn ang="0">
                    <a:pos x="23" y="0"/>
                  </a:cxn>
                  <a:cxn ang="0">
                    <a:pos x="31" y="21"/>
                  </a:cxn>
                  <a:cxn ang="0">
                    <a:pos x="31" y="25"/>
                  </a:cxn>
                  <a:cxn ang="0">
                    <a:pos x="48" y="18"/>
                  </a:cxn>
                  <a:cxn ang="0">
                    <a:pos x="30" y="32"/>
                  </a:cxn>
                  <a:cxn ang="0">
                    <a:pos x="27" y="42"/>
                  </a:cxn>
                  <a:cxn ang="0">
                    <a:pos x="50" y="39"/>
                  </a:cxn>
                  <a:cxn ang="0">
                    <a:pos x="25" y="46"/>
                  </a:cxn>
                </a:cxnLst>
                <a:rect l="0" t="0" r="r" b="b"/>
                <a:pathLst>
                  <a:path w="50" h="64">
                    <a:moveTo>
                      <a:pt x="25" y="46"/>
                    </a:moveTo>
                    <a:cubicBezTo>
                      <a:pt x="20" y="57"/>
                      <a:pt x="11" y="64"/>
                      <a:pt x="1" y="64"/>
                    </a:cubicBezTo>
                    <a:cubicBezTo>
                      <a:pt x="0" y="64"/>
                      <a:pt x="0" y="63"/>
                      <a:pt x="0" y="62"/>
                    </a:cubicBezTo>
                    <a:cubicBezTo>
                      <a:pt x="0" y="61"/>
                      <a:pt x="0" y="61"/>
                      <a:pt x="1" y="61"/>
                    </a:cubicBezTo>
                    <a:cubicBezTo>
                      <a:pt x="10" y="61"/>
                      <a:pt x="17" y="55"/>
                      <a:pt x="22" y="46"/>
                    </a:cubicBezTo>
                    <a:cubicBezTo>
                      <a:pt x="17" y="48"/>
                      <a:pt x="6" y="50"/>
                      <a:pt x="1" y="36"/>
                    </a:cubicBezTo>
                    <a:cubicBezTo>
                      <a:pt x="15" y="30"/>
                      <a:pt x="22" y="37"/>
                      <a:pt x="24" y="41"/>
                    </a:cubicBezTo>
                    <a:cubicBezTo>
                      <a:pt x="25" y="38"/>
                      <a:pt x="26" y="35"/>
                      <a:pt x="27" y="31"/>
                    </a:cubicBezTo>
                    <a:cubicBezTo>
                      <a:pt x="27" y="31"/>
                      <a:pt x="9" y="34"/>
                      <a:pt x="7" y="18"/>
                    </a:cubicBezTo>
                    <a:cubicBezTo>
                      <a:pt x="23" y="12"/>
                      <a:pt x="27" y="28"/>
                      <a:pt x="27" y="28"/>
                    </a:cubicBezTo>
                    <a:cubicBezTo>
                      <a:pt x="27" y="26"/>
                      <a:pt x="28" y="21"/>
                      <a:pt x="28" y="21"/>
                    </a:cubicBezTo>
                    <a:cubicBezTo>
                      <a:pt x="28" y="21"/>
                      <a:pt x="14" y="12"/>
                      <a:pt x="23" y="0"/>
                    </a:cubicBezTo>
                    <a:cubicBezTo>
                      <a:pt x="39" y="5"/>
                      <a:pt x="31" y="21"/>
                      <a:pt x="31" y="21"/>
                    </a:cubicBezTo>
                    <a:cubicBezTo>
                      <a:pt x="31" y="21"/>
                      <a:pt x="31" y="24"/>
                      <a:pt x="31" y="25"/>
                    </a:cubicBezTo>
                    <a:cubicBezTo>
                      <a:pt x="31" y="25"/>
                      <a:pt x="37" y="14"/>
                      <a:pt x="48" y="18"/>
                    </a:cubicBezTo>
                    <a:cubicBezTo>
                      <a:pt x="48" y="35"/>
                      <a:pt x="30" y="32"/>
                      <a:pt x="30" y="32"/>
                    </a:cubicBezTo>
                    <a:cubicBezTo>
                      <a:pt x="29" y="35"/>
                      <a:pt x="29" y="39"/>
                      <a:pt x="27" y="42"/>
                    </a:cubicBezTo>
                    <a:cubicBezTo>
                      <a:pt x="27" y="42"/>
                      <a:pt x="38" y="30"/>
                      <a:pt x="50" y="39"/>
                    </a:cubicBezTo>
                    <a:cubicBezTo>
                      <a:pt x="43" y="57"/>
                      <a:pt x="25" y="46"/>
                      <a:pt x="25" y="46"/>
                    </a:cubicBezTo>
                    <a:close/>
                  </a:path>
                </a:pathLst>
              </a:custGeom>
              <a:solidFill>
                <a:schemeClr val="bg1"/>
              </a:solidFill>
              <a:ln w="9525">
                <a:noFill/>
                <a:round/>
                <a:headEnd/>
                <a:tailEnd/>
              </a:ln>
            </p:spPr>
            <p:txBody>
              <a:bodyPr anchor="ctr"/>
              <a:lstStyle/>
              <a:p>
                <a:pPr algn="ctr"/>
                <a:endParaRPr/>
              </a:p>
            </p:txBody>
          </p:sp>
          <p:grpSp>
            <p:nvGrpSpPr>
              <p:cNvPr id="22" name="íṡliḋe">
                <a:extLst>
                  <a:ext uri="{FF2B5EF4-FFF2-40B4-BE49-F238E27FC236}">
                    <a16:creationId xmlns:a16="http://schemas.microsoft.com/office/drawing/2014/main" id="{5F913656-5949-413D-9617-D97CF0B7B725}"/>
                  </a:ext>
                </a:extLst>
              </p:cNvPr>
              <p:cNvGrpSpPr/>
              <p:nvPr/>
            </p:nvGrpSpPr>
            <p:grpSpPr>
              <a:xfrm>
                <a:off x="4614672" y="3685897"/>
                <a:ext cx="1426464" cy="1426464"/>
                <a:chOff x="3461004" y="2852256"/>
                <a:chExt cx="1069848" cy="1069848"/>
              </a:xfrm>
            </p:grpSpPr>
            <p:sp>
              <p:nvSpPr>
                <p:cNvPr id="32" name="ïṩḻíde">
                  <a:extLst>
                    <a:ext uri="{FF2B5EF4-FFF2-40B4-BE49-F238E27FC236}">
                      <a16:creationId xmlns:a16="http://schemas.microsoft.com/office/drawing/2014/main" id="{939E967F-5090-4981-BF1B-67604CB3FD2A}"/>
                    </a:ext>
                  </a:extLst>
                </p:cNvPr>
                <p:cNvSpPr/>
                <p:nvPr/>
              </p:nvSpPr>
              <p:spPr>
                <a:xfrm>
                  <a:off x="3461004" y="2852256"/>
                  <a:ext cx="1069848" cy="1069848"/>
                </a:xfrm>
                <a:prstGeom prst="ellipse">
                  <a:avLst/>
                </a:prstGeom>
                <a:solidFill>
                  <a:schemeClr val="accent3"/>
                </a:solidFill>
                <a:ln w="381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endParaRPr/>
                </a:p>
              </p:txBody>
            </p:sp>
            <p:sp>
              <p:nvSpPr>
                <p:cNvPr id="33" name="íşľiḑê">
                  <a:extLst>
                    <a:ext uri="{FF2B5EF4-FFF2-40B4-BE49-F238E27FC236}">
                      <a16:creationId xmlns:a16="http://schemas.microsoft.com/office/drawing/2014/main" id="{F04B4DC9-8BD3-49DE-BF7F-036C876C6806}"/>
                    </a:ext>
                  </a:extLst>
                </p:cNvPr>
                <p:cNvSpPr/>
                <p:nvPr/>
              </p:nvSpPr>
              <p:spPr>
                <a:xfrm>
                  <a:off x="3513229" y="2904481"/>
                  <a:ext cx="965397" cy="965397"/>
                </a:xfrm>
                <a:prstGeom prst="ellipse">
                  <a:avLst/>
                </a:prstGeom>
                <a:ln w="38100"/>
              </p:spPr>
              <p:style>
                <a:lnRef idx="0">
                  <a:scrgbClr r="0" g="0" b="0"/>
                </a:lnRef>
                <a:fillRef idx="0">
                  <a:scrgbClr r="0" g="0" b="0"/>
                </a:fillRef>
                <a:effectRef idx="0">
                  <a:scrgbClr r="0" g="0" b="0"/>
                </a:effectRef>
                <a:fontRef idx="minor">
                  <a:schemeClr val="lt1"/>
                </a:fontRef>
              </p:style>
              <p:txBody>
                <a:bodyPr anchor="ctr"/>
                <a:lstStyle/>
                <a:p>
                  <a:pPr algn="ctr"/>
                  <a:endParaRPr/>
                </a:p>
              </p:txBody>
            </p:sp>
          </p:grpSp>
          <p:sp>
            <p:nvSpPr>
              <p:cNvPr id="23" name="iṣḻíḓê">
                <a:extLst>
                  <a:ext uri="{FF2B5EF4-FFF2-40B4-BE49-F238E27FC236}">
                    <a16:creationId xmlns:a16="http://schemas.microsoft.com/office/drawing/2014/main" id="{55006BE3-6DF9-42FB-90F9-01E6317C675F}"/>
                  </a:ext>
                </a:extLst>
              </p:cNvPr>
              <p:cNvSpPr/>
              <p:nvPr/>
            </p:nvSpPr>
            <p:spPr bwMode="auto">
              <a:xfrm>
                <a:off x="5174446" y="4246729"/>
                <a:ext cx="306917" cy="304800"/>
              </a:xfrm>
              <a:custGeom>
                <a:avLst/>
                <a:gdLst/>
                <a:ahLst/>
                <a:cxnLst>
                  <a:cxn ang="0">
                    <a:pos x="105" y="105"/>
                  </a:cxn>
                  <a:cxn ang="0">
                    <a:pos x="105" y="144"/>
                  </a:cxn>
                  <a:cxn ang="0">
                    <a:pos x="145" y="144"/>
                  </a:cxn>
                  <a:cxn ang="0">
                    <a:pos x="145" y="105"/>
                  </a:cxn>
                  <a:cxn ang="0">
                    <a:pos x="105" y="105"/>
                  </a:cxn>
                  <a:cxn ang="0">
                    <a:pos x="105" y="105"/>
                  </a:cxn>
                  <a:cxn ang="0">
                    <a:pos x="105" y="52"/>
                  </a:cxn>
                  <a:cxn ang="0">
                    <a:pos x="105" y="91"/>
                  </a:cxn>
                  <a:cxn ang="0">
                    <a:pos x="145" y="91"/>
                  </a:cxn>
                  <a:cxn ang="0">
                    <a:pos x="145" y="52"/>
                  </a:cxn>
                  <a:cxn ang="0">
                    <a:pos x="105" y="52"/>
                  </a:cxn>
                  <a:cxn ang="0">
                    <a:pos x="105" y="52"/>
                  </a:cxn>
                  <a:cxn ang="0">
                    <a:pos x="105" y="0"/>
                  </a:cxn>
                  <a:cxn ang="0">
                    <a:pos x="105" y="39"/>
                  </a:cxn>
                  <a:cxn ang="0">
                    <a:pos x="145" y="39"/>
                  </a:cxn>
                  <a:cxn ang="0">
                    <a:pos x="145" y="0"/>
                  </a:cxn>
                  <a:cxn ang="0">
                    <a:pos x="105" y="0"/>
                  </a:cxn>
                  <a:cxn ang="0">
                    <a:pos x="105" y="0"/>
                  </a:cxn>
                  <a:cxn ang="0">
                    <a:pos x="53" y="105"/>
                  </a:cxn>
                  <a:cxn ang="0">
                    <a:pos x="53" y="144"/>
                  </a:cxn>
                  <a:cxn ang="0">
                    <a:pos x="92" y="144"/>
                  </a:cxn>
                  <a:cxn ang="0">
                    <a:pos x="92" y="105"/>
                  </a:cxn>
                  <a:cxn ang="0">
                    <a:pos x="53" y="105"/>
                  </a:cxn>
                  <a:cxn ang="0">
                    <a:pos x="53" y="105"/>
                  </a:cxn>
                  <a:cxn ang="0">
                    <a:pos x="53" y="52"/>
                  </a:cxn>
                  <a:cxn ang="0">
                    <a:pos x="53" y="91"/>
                  </a:cxn>
                  <a:cxn ang="0">
                    <a:pos x="92" y="91"/>
                  </a:cxn>
                  <a:cxn ang="0">
                    <a:pos x="92" y="52"/>
                  </a:cxn>
                  <a:cxn ang="0">
                    <a:pos x="53" y="52"/>
                  </a:cxn>
                  <a:cxn ang="0">
                    <a:pos x="53" y="52"/>
                  </a:cxn>
                  <a:cxn ang="0">
                    <a:pos x="53" y="0"/>
                  </a:cxn>
                  <a:cxn ang="0">
                    <a:pos x="53" y="39"/>
                  </a:cxn>
                  <a:cxn ang="0">
                    <a:pos x="92" y="39"/>
                  </a:cxn>
                  <a:cxn ang="0">
                    <a:pos x="92" y="0"/>
                  </a:cxn>
                  <a:cxn ang="0">
                    <a:pos x="53" y="0"/>
                  </a:cxn>
                  <a:cxn ang="0">
                    <a:pos x="53" y="0"/>
                  </a:cxn>
                  <a:cxn ang="0">
                    <a:pos x="0" y="105"/>
                  </a:cxn>
                  <a:cxn ang="0">
                    <a:pos x="0" y="144"/>
                  </a:cxn>
                  <a:cxn ang="0">
                    <a:pos x="40" y="144"/>
                  </a:cxn>
                  <a:cxn ang="0">
                    <a:pos x="40" y="105"/>
                  </a:cxn>
                  <a:cxn ang="0">
                    <a:pos x="0" y="105"/>
                  </a:cxn>
                  <a:cxn ang="0">
                    <a:pos x="0" y="105"/>
                  </a:cxn>
                  <a:cxn ang="0">
                    <a:pos x="0" y="52"/>
                  </a:cxn>
                  <a:cxn ang="0">
                    <a:pos x="0" y="91"/>
                  </a:cxn>
                  <a:cxn ang="0">
                    <a:pos x="40" y="91"/>
                  </a:cxn>
                  <a:cxn ang="0">
                    <a:pos x="40" y="52"/>
                  </a:cxn>
                  <a:cxn ang="0">
                    <a:pos x="0" y="52"/>
                  </a:cxn>
                  <a:cxn ang="0">
                    <a:pos x="0" y="52"/>
                  </a:cxn>
                  <a:cxn ang="0">
                    <a:pos x="0" y="0"/>
                  </a:cxn>
                  <a:cxn ang="0">
                    <a:pos x="0" y="39"/>
                  </a:cxn>
                  <a:cxn ang="0">
                    <a:pos x="40" y="39"/>
                  </a:cxn>
                  <a:cxn ang="0">
                    <a:pos x="40" y="0"/>
                  </a:cxn>
                  <a:cxn ang="0">
                    <a:pos x="0" y="0"/>
                  </a:cxn>
                  <a:cxn ang="0">
                    <a:pos x="0" y="0"/>
                  </a:cxn>
                </a:cxnLst>
                <a:rect l="0" t="0" r="r" b="b"/>
                <a:pathLst>
                  <a:path w="145" h="144">
                    <a:moveTo>
                      <a:pt x="105" y="105"/>
                    </a:moveTo>
                    <a:lnTo>
                      <a:pt x="105" y="144"/>
                    </a:lnTo>
                    <a:lnTo>
                      <a:pt x="145" y="144"/>
                    </a:lnTo>
                    <a:lnTo>
                      <a:pt x="145" y="105"/>
                    </a:lnTo>
                    <a:lnTo>
                      <a:pt x="105" y="105"/>
                    </a:lnTo>
                    <a:lnTo>
                      <a:pt x="105" y="105"/>
                    </a:lnTo>
                    <a:close/>
                    <a:moveTo>
                      <a:pt x="105" y="52"/>
                    </a:moveTo>
                    <a:lnTo>
                      <a:pt x="105" y="91"/>
                    </a:lnTo>
                    <a:lnTo>
                      <a:pt x="145" y="91"/>
                    </a:lnTo>
                    <a:lnTo>
                      <a:pt x="145" y="52"/>
                    </a:lnTo>
                    <a:lnTo>
                      <a:pt x="105" y="52"/>
                    </a:lnTo>
                    <a:lnTo>
                      <a:pt x="105" y="52"/>
                    </a:lnTo>
                    <a:close/>
                    <a:moveTo>
                      <a:pt x="105" y="0"/>
                    </a:moveTo>
                    <a:lnTo>
                      <a:pt x="105" y="39"/>
                    </a:lnTo>
                    <a:lnTo>
                      <a:pt x="145" y="39"/>
                    </a:lnTo>
                    <a:lnTo>
                      <a:pt x="145" y="0"/>
                    </a:lnTo>
                    <a:lnTo>
                      <a:pt x="105" y="0"/>
                    </a:lnTo>
                    <a:lnTo>
                      <a:pt x="105" y="0"/>
                    </a:lnTo>
                    <a:close/>
                    <a:moveTo>
                      <a:pt x="53" y="105"/>
                    </a:moveTo>
                    <a:lnTo>
                      <a:pt x="53" y="144"/>
                    </a:lnTo>
                    <a:lnTo>
                      <a:pt x="92" y="144"/>
                    </a:lnTo>
                    <a:lnTo>
                      <a:pt x="92" y="105"/>
                    </a:lnTo>
                    <a:lnTo>
                      <a:pt x="53" y="105"/>
                    </a:lnTo>
                    <a:lnTo>
                      <a:pt x="53" y="105"/>
                    </a:lnTo>
                    <a:close/>
                    <a:moveTo>
                      <a:pt x="53" y="52"/>
                    </a:moveTo>
                    <a:lnTo>
                      <a:pt x="53" y="91"/>
                    </a:lnTo>
                    <a:lnTo>
                      <a:pt x="92" y="91"/>
                    </a:lnTo>
                    <a:lnTo>
                      <a:pt x="92" y="52"/>
                    </a:lnTo>
                    <a:lnTo>
                      <a:pt x="53" y="52"/>
                    </a:lnTo>
                    <a:lnTo>
                      <a:pt x="53" y="52"/>
                    </a:lnTo>
                    <a:close/>
                    <a:moveTo>
                      <a:pt x="53" y="0"/>
                    </a:moveTo>
                    <a:lnTo>
                      <a:pt x="53" y="39"/>
                    </a:lnTo>
                    <a:lnTo>
                      <a:pt x="92" y="39"/>
                    </a:lnTo>
                    <a:lnTo>
                      <a:pt x="92" y="0"/>
                    </a:lnTo>
                    <a:lnTo>
                      <a:pt x="53" y="0"/>
                    </a:lnTo>
                    <a:lnTo>
                      <a:pt x="53" y="0"/>
                    </a:lnTo>
                    <a:close/>
                    <a:moveTo>
                      <a:pt x="0" y="105"/>
                    </a:moveTo>
                    <a:lnTo>
                      <a:pt x="0" y="144"/>
                    </a:lnTo>
                    <a:lnTo>
                      <a:pt x="40" y="144"/>
                    </a:lnTo>
                    <a:lnTo>
                      <a:pt x="40" y="105"/>
                    </a:lnTo>
                    <a:lnTo>
                      <a:pt x="0" y="105"/>
                    </a:lnTo>
                    <a:lnTo>
                      <a:pt x="0" y="105"/>
                    </a:lnTo>
                    <a:close/>
                    <a:moveTo>
                      <a:pt x="0" y="52"/>
                    </a:moveTo>
                    <a:lnTo>
                      <a:pt x="0" y="91"/>
                    </a:lnTo>
                    <a:lnTo>
                      <a:pt x="40" y="91"/>
                    </a:lnTo>
                    <a:lnTo>
                      <a:pt x="40" y="52"/>
                    </a:lnTo>
                    <a:lnTo>
                      <a:pt x="0" y="52"/>
                    </a:lnTo>
                    <a:lnTo>
                      <a:pt x="0" y="52"/>
                    </a:lnTo>
                    <a:close/>
                    <a:moveTo>
                      <a:pt x="0" y="0"/>
                    </a:moveTo>
                    <a:lnTo>
                      <a:pt x="0" y="39"/>
                    </a:lnTo>
                    <a:lnTo>
                      <a:pt x="40" y="39"/>
                    </a:lnTo>
                    <a:lnTo>
                      <a:pt x="40" y="0"/>
                    </a:lnTo>
                    <a:lnTo>
                      <a:pt x="0" y="0"/>
                    </a:lnTo>
                    <a:lnTo>
                      <a:pt x="0" y="0"/>
                    </a:lnTo>
                    <a:close/>
                  </a:path>
                </a:pathLst>
              </a:custGeom>
              <a:solidFill>
                <a:schemeClr val="bg1"/>
              </a:solidFill>
              <a:ln w="9525">
                <a:noFill/>
                <a:round/>
                <a:headEnd/>
                <a:tailEnd/>
              </a:ln>
            </p:spPr>
            <p:txBody>
              <a:bodyPr anchor="ctr"/>
              <a:lstStyle/>
              <a:p>
                <a:pPr algn="ctr"/>
                <a:endParaRPr/>
              </a:p>
            </p:txBody>
          </p:sp>
          <p:grpSp>
            <p:nvGrpSpPr>
              <p:cNvPr id="24" name="íšļiḑê">
                <a:extLst>
                  <a:ext uri="{FF2B5EF4-FFF2-40B4-BE49-F238E27FC236}">
                    <a16:creationId xmlns:a16="http://schemas.microsoft.com/office/drawing/2014/main" id="{BE849703-97BF-47BA-B4B5-96168097540A}"/>
                  </a:ext>
                </a:extLst>
              </p:cNvPr>
              <p:cNvGrpSpPr/>
              <p:nvPr/>
            </p:nvGrpSpPr>
            <p:grpSpPr>
              <a:xfrm>
                <a:off x="6150864" y="2149705"/>
                <a:ext cx="1426464" cy="1426464"/>
                <a:chOff x="4613148" y="1700112"/>
                <a:chExt cx="1069848" cy="1069848"/>
              </a:xfrm>
            </p:grpSpPr>
            <p:sp>
              <p:nvSpPr>
                <p:cNvPr id="30" name="îṣļïḓè">
                  <a:extLst>
                    <a:ext uri="{FF2B5EF4-FFF2-40B4-BE49-F238E27FC236}">
                      <a16:creationId xmlns:a16="http://schemas.microsoft.com/office/drawing/2014/main" id="{57F7F91E-21D9-4863-AD29-891BF675B89B}"/>
                    </a:ext>
                  </a:extLst>
                </p:cNvPr>
                <p:cNvSpPr/>
                <p:nvPr/>
              </p:nvSpPr>
              <p:spPr>
                <a:xfrm>
                  <a:off x="4613148" y="1700112"/>
                  <a:ext cx="1069848" cy="1069848"/>
                </a:xfrm>
                <a:prstGeom prst="ellipse">
                  <a:avLst/>
                </a:prstGeom>
                <a:solidFill>
                  <a:schemeClr val="accent2"/>
                </a:solidFill>
                <a:ln w="381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endParaRPr/>
                </a:p>
              </p:txBody>
            </p:sp>
            <p:sp>
              <p:nvSpPr>
                <p:cNvPr id="31" name="îśḷîḑè">
                  <a:extLst>
                    <a:ext uri="{FF2B5EF4-FFF2-40B4-BE49-F238E27FC236}">
                      <a16:creationId xmlns:a16="http://schemas.microsoft.com/office/drawing/2014/main" id="{A07A96E1-F3E7-452D-818B-2C0D997D0CC3}"/>
                    </a:ext>
                  </a:extLst>
                </p:cNvPr>
                <p:cNvSpPr/>
                <p:nvPr/>
              </p:nvSpPr>
              <p:spPr>
                <a:xfrm>
                  <a:off x="4665373" y="1752337"/>
                  <a:ext cx="965397" cy="965397"/>
                </a:xfrm>
                <a:prstGeom prst="ellipse">
                  <a:avLst/>
                </a:prstGeom>
                <a:ln w="38100"/>
              </p:spPr>
              <p:style>
                <a:lnRef idx="0">
                  <a:scrgbClr r="0" g="0" b="0"/>
                </a:lnRef>
                <a:fillRef idx="0">
                  <a:scrgbClr r="0" g="0" b="0"/>
                </a:fillRef>
                <a:effectRef idx="0">
                  <a:scrgbClr r="0" g="0" b="0"/>
                </a:effectRef>
                <a:fontRef idx="minor">
                  <a:schemeClr val="lt1"/>
                </a:fontRef>
              </p:style>
              <p:txBody>
                <a:bodyPr anchor="ctr"/>
                <a:lstStyle/>
                <a:p>
                  <a:pPr algn="ctr"/>
                  <a:endParaRPr/>
                </a:p>
              </p:txBody>
            </p:sp>
          </p:grpSp>
          <p:sp>
            <p:nvSpPr>
              <p:cNvPr id="25" name="í$ḻíḓé">
                <a:extLst>
                  <a:ext uri="{FF2B5EF4-FFF2-40B4-BE49-F238E27FC236}">
                    <a16:creationId xmlns:a16="http://schemas.microsoft.com/office/drawing/2014/main" id="{281B0DEA-CB15-4758-AB38-D9E5CE7EE6B7}"/>
                  </a:ext>
                </a:extLst>
              </p:cNvPr>
              <p:cNvSpPr/>
              <p:nvPr/>
            </p:nvSpPr>
            <p:spPr bwMode="auto">
              <a:xfrm>
                <a:off x="6664071" y="2719004"/>
                <a:ext cx="400051" cy="287867"/>
              </a:xfrm>
              <a:custGeom>
                <a:avLst/>
                <a:gdLst/>
                <a:ahLst/>
                <a:cxnLst>
                  <a:cxn ang="0">
                    <a:pos x="292" y="130"/>
                  </a:cxn>
                  <a:cxn ang="0">
                    <a:pos x="112" y="130"/>
                  </a:cxn>
                  <a:cxn ang="0">
                    <a:pos x="93" y="112"/>
                  </a:cxn>
                  <a:cxn ang="0">
                    <a:pos x="112" y="93"/>
                  </a:cxn>
                  <a:cxn ang="0">
                    <a:pos x="292" y="93"/>
                  </a:cxn>
                  <a:cxn ang="0">
                    <a:pos x="311" y="112"/>
                  </a:cxn>
                  <a:cxn ang="0">
                    <a:pos x="292" y="130"/>
                  </a:cxn>
                  <a:cxn ang="0">
                    <a:pos x="292" y="37"/>
                  </a:cxn>
                  <a:cxn ang="0">
                    <a:pos x="112" y="37"/>
                  </a:cxn>
                  <a:cxn ang="0">
                    <a:pos x="93" y="19"/>
                  </a:cxn>
                  <a:cxn ang="0">
                    <a:pos x="112" y="0"/>
                  </a:cxn>
                  <a:cxn ang="0">
                    <a:pos x="292" y="0"/>
                  </a:cxn>
                  <a:cxn ang="0">
                    <a:pos x="311" y="19"/>
                  </a:cxn>
                  <a:cxn ang="0">
                    <a:pos x="292" y="37"/>
                  </a:cxn>
                  <a:cxn ang="0">
                    <a:pos x="25" y="224"/>
                  </a:cxn>
                  <a:cxn ang="0">
                    <a:pos x="13" y="224"/>
                  </a:cxn>
                  <a:cxn ang="0">
                    <a:pos x="0" y="211"/>
                  </a:cxn>
                  <a:cxn ang="0">
                    <a:pos x="0" y="199"/>
                  </a:cxn>
                  <a:cxn ang="0">
                    <a:pos x="13" y="186"/>
                  </a:cxn>
                  <a:cxn ang="0">
                    <a:pos x="25" y="186"/>
                  </a:cxn>
                  <a:cxn ang="0">
                    <a:pos x="38" y="199"/>
                  </a:cxn>
                  <a:cxn ang="0">
                    <a:pos x="38" y="211"/>
                  </a:cxn>
                  <a:cxn ang="0">
                    <a:pos x="25" y="224"/>
                  </a:cxn>
                  <a:cxn ang="0">
                    <a:pos x="25" y="130"/>
                  </a:cxn>
                  <a:cxn ang="0">
                    <a:pos x="13" y="130"/>
                  </a:cxn>
                  <a:cxn ang="0">
                    <a:pos x="0" y="118"/>
                  </a:cxn>
                  <a:cxn ang="0">
                    <a:pos x="0" y="106"/>
                  </a:cxn>
                  <a:cxn ang="0">
                    <a:pos x="13" y="93"/>
                  </a:cxn>
                  <a:cxn ang="0">
                    <a:pos x="25" y="93"/>
                  </a:cxn>
                  <a:cxn ang="0">
                    <a:pos x="38" y="106"/>
                  </a:cxn>
                  <a:cxn ang="0">
                    <a:pos x="38" y="118"/>
                  </a:cxn>
                  <a:cxn ang="0">
                    <a:pos x="25" y="130"/>
                  </a:cxn>
                  <a:cxn ang="0">
                    <a:pos x="25" y="37"/>
                  </a:cxn>
                  <a:cxn ang="0">
                    <a:pos x="13" y="37"/>
                  </a:cxn>
                  <a:cxn ang="0">
                    <a:pos x="0" y="25"/>
                  </a:cxn>
                  <a:cxn ang="0">
                    <a:pos x="0" y="12"/>
                  </a:cxn>
                  <a:cxn ang="0">
                    <a:pos x="13" y="0"/>
                  </a:cxn>
                  <a:cxn ang="0">
                    <a:pos x="25" y="0"/>
                  </a:cxn>
                  <a:cxn ang="0">
                    <a:pos x="38" y="12"/>
                  </a:cxn>
                  <a:cxn ang="0">
                    <a:pos x="38" y="25"/>
                  </a:cxn>
                  <a:cxn ang="0">
                    <a:pos x="25" y="37"/>
                  </a:cxn>
                  <a:cxn ang="0">
                    <a:pos x="112" y="186"/>
                  </a:cxn>
                  <a:cxn ang="0">
                    <a:pos x="292" y="186"/>
                  </a:cxn>
                  <a:cxn ang="0">
                    <a:pos x="311" y="205"/>
                  </a:cxn>
                  <a:cxn ang="0">
                    <a:pos x="292" y="224"/>
                  </a:cxn>
                  <a:cxn ang="0">
                    <a:pos x="112" y="224"/>
                  </a:cxn>
                  <a:cxn ang="0">
                    <a:pos x="93" y="205"/>
                  </a:cxn>
                  <a:cxn ang="0">
                    <a:pos x="112" y="186"/>
                  </a:cxn>
                </a:cxnLst>
                <a:rect l="0" t="0" r="r" b="b"/>
                <a:pathLst>
                  <a:path w="311" h="224">
                    <a:moveTo>
                      <a:pt x="292" y="130"/>
                    </a:moveTo>
                    <a:cubicBezTo>
                      <a:pt x="112" y="130"/>
                      <a:pt x="112" y="130"/>
                      <a:pt x="112" y="130"/>
                    </a:cubicBezTo>
                    <a:cubicBezTo>
                      <a:pt x="103" y="130"/>
                      <a:pt x="93" y="121"/>
                      <a:pt x="93" y="112"/>
                    </a:cubicBezTo>
                    <a:cubicBezTo>
                      <a:pt x="93" y="103"/>
                      <a:pt x="103" y="93"/>
                      <a:pt x="112" y="93"/>
                    </a:cubicBezTo>
                    <a:cubicBezTo>
                      <a:pt x="292" y="93"/>
                      <a:pt x="292" y="93"/>
                      <a:pt x="292" y="93"/>
                    </a:cubicBezTo>
                    <a:cubicBezTo>
                      <a:pt x="301" y="93"/>
                      <a:pt x="311" y="103"/>
                      <a:pt x="311" y="112"/>
                    </a:cubicBezTo>
                    <a:cubicBezTo>
                      <a:pt x="311" y="121"/>
                      <a:pt x="301" y="130"/>
                      <a:pt x="292" y="130"/>
                    </a:cubicBezTo>
                    <a:close/>
                    <a:moveTo>
                      <a:pt x="292" y="37"/>
                    </a:moveTo>
                    <a:cubicBezTo>
                      <a:pt x="112" y="37"/>
                      <a:pt x="112" y="37"/>
                      <a:pt x="112" y="37"/>
                    </a:cubicBezTo>
                    <a:cubicBezTo>
                      <a:pt x="103" y="37"/>
                      <a:pt x="93" y="28"/>
                      <a:pt x="93" y="19"/>
                    </a:cubicBezTo>
                    <a:cubicBezTo>
                      <a:pt x="93" y="10"/>
                      <a:pt x="103" y="0"/>
                      <a:pt x="112" y="0"/>
                    </a:cubicBezTo>
                    <a:cubicBezTo>
                      <a:pt x="292" y="0"/>
                      <a:pt x="292" y="0"/>
                      <a:pt x="292" y="0"/>
                    </a:cubicBezTo>
                    <a:cubicBezTo>
                      <a:pt x="301" y="0"/>
                      <a:pt x="311" y="10"/>
                      <a:pt x="311" y="19"/>
                    </a:cubicBezTo>
                    <a:cubicBezTo>
                      <a:pt x="311" y="28"/>
                      <a:pt x="301" y="37"/>
                      <a:pt x="292" y="37"/>
                    </a:cubicBezTo>
                    <a:close/>
                    <a:moveTo>
                      <a:pt x="25" y="224"/>
                    </a:moveTo>
                    <a:cubicBezTo>
                      <a:pt x="13" y="224"/>
                      <a:pt x="13" y="224"/>
                      <a:pt x="13" y="224"/>
                    </a:cubicBezTo>
                    <a:cubicBezTo>
                      <a:pt x="3" y="224"/>
                      <a:pt x="0" y="220"/>
                      <a:pt x="0" y="211"/>
                    </a:cubicBezTo>
                    <a:cubicBezTo>
                      <a:pt x="0" y="199"/>
                      <a:pt x="0" y="199"/>
                      <a:pt x="0" y="199"/>
                    </a:cubicBezTo>
                    <a:cubicBezTo>
                      <a:pt x="0" y="190"/>
                      <a:pt x="3" y="186"/>
                      <a:pt x="13" y="186"/>
                    </a:cubicBezTo>
                    <a:cubicBezTo>
                      <a:pt x="25" y="186"/>
                      <a:pt x="25" y="186"/>
                      <a:pt x="25" y="186"/>
                    </a:cubicBezTo>
                    <a:cubicBezTo>
                      <a:pt x="34" y="186"/>
                      <a:pt x="38" y="190"/>
                      <a:pt x="38" y="199"/>
                    </a:cubicBezTo>
                    <a:cubicBezTo>
                      <a:pt x="38" y="211"/>
                      <a:pt x="38" y="211"/>
                      <a:pt x="38" y="211"/>
                    </a:cubicBezTo>
                    <a:cubicBezTo>
                      <a:pt x="38" y="220"/>
                      <a:pt x="34" y="224"/>
                      <a:pt x="25" y="224"/>
                    </a:cubicBezTo>
                    <a:close/>
                    <a:moveTo>
                      <a:pt x="25" y="130"/>
                    </a:moveTo>
                    <a:cubicBezTo>
                      <a:pt x="13" y="130"/>
                      <a:pt x="13" y="130"/>
                      <a:pt x="13" y="130"/>
                    </a:cubicBezTo>
                    <a:cubicBezTo>
                      <a:pt x="3" y="130"/>
                      <a:pt x="0" y="127"/>
                      <a:pt x="0" y="118"/>
                    </a:cubicBezTo>
                    <a:cubicBezTo>
                      <a:pt x="0" y="106"/>
                      <a:pt x="0" y="106"/>
                      <a:pt x="0" y="106"/>
                    </a:cubicBezTo>
                    <a:cubicBezTo>
                      <a:pt x="0" y="97"/>
                      <a:pt x="3" y="93"/>
                      <a:pt x="13" y="93"/>
                    </a:cubicBezTo>
                    <a:cubicBezTo>
                      <a:pt x="25" y="93"/>
                      <a:pt x="25" y="93"/>
                      <a:pt x="25" y="93"/>
                    </a:cubicBezTo>
                    <a:cubicBezTo>
                      <a:pt x="34" y="93"/>
                      <a:pt x="38" y="97"/>
                      <a:pt x="38" y="106"/>
                    </a:cubicBezTo>
                    <a:cubicBezTo>
                      <a:pt x="38" y="118"/>
                      <a:pt x="38" y="118"/>
                      <a:pt x="38" y="118"/>
                    </a:cubicBezTo>
                    <a:cubicBezTo>
                      <a:pt x="38" y="127"/>
                      <a:pt x="34" y="130"/>
                      <a:pt x="25" y="130"/>
                    </a:cubicBezTo>
                    <a:close/>
                    <a:moveTo>
                      <a:pt x="25" y="37"/>
                    </a:moveTo>
                    <a:cubicBezTo>
                      <a:pt x="13" y="37"/>
                      <a:pt x="13" y="37"/>
                      <a:pt x="13" y="37"/>
                    </a:cubicBezTo>
                    <a:cubicBezTo>
                      <a:pt x="3" y="37"/>
                      <a:pt x="0" y="34"/>
                      <a:pt x="0" y="25"/>
                    </a:cubicBezTo>
                    <a:cubicBezTo>
                      <a:pt x="0" y="12"/>
                      <a:pt x="0" y="12"/>
                      <a:pt x="0" y="12"/>
                    </a:cubicBezTo>
                    <a:cubicBezTo>
                      <a:pt x="0" y="3"/>
                      <a:pt x="3" y="0"/>
                      <a:pt x="13" y="0"/>
                    </a:cubicBezTo>
                    <a:cubicBezTo>
                      <a:pt x="25" y="0"/>
                      <a:pt x="25" y="0"/>
                      <a:pt x="25" y="0"/>
                    </a:cubicBezTo>
                    <a:cubicBezTo>
                      <a:pt x="34" y="0"/>
                      <a:pt x="38" y="3"/>
                      <a:pt x="38" y="12"/>
                    </a:cubicBezTo>
                    <a:cubicBezTo>
                      <a:pt x="38" y="25"/>
                      <a:pt x="38" y="25"/>
                      <a:pt x="38" y="25"/>
                    </a:cubicBezTo>
                    <a:cubicBezTo>
                      <a:pt x="38" y="34"/>
                      <a:pt x="34" y="37"/>
                      <a:pt x="25" y="37"/>
                    </a:cubicBezTo>
                    <a:close/>
                    <a:moveTo>
                      <a:pt x="112" y="186"/>
                    </a:moveTo>
                    <a:cubicBezTo>
                      <a:pt x="292" y="186"/>
                      <a:pt x="292" y="186"/>
                      <a:pt x="292" y="186"/>
                    </a:cubicBezTo>
                    <a:cubicBezTo>
                      <a:pt x="301" y="186"/>
                      <a:pt x="311" y="196"/>
                      <a:pt x="311" y="205"/>
                    </a:cubicBezTo>
                    <a:cubicBezTo>
                      <a:pt x="311" y="214"/>
                      <a:pt x="301" y="224"/>
                      <a:pt x="292" y="224"/>
                    </a:cubicBezTo>
                    <a:cubicBezTo>
                      <a:pt x="112" y="224"/>
                      <a:pt x="112" y="224"/>
                      <a:pt x="112" y="224"/>
                    </a:cubicBezTo>
                    <a:cubicBezTo>
                      <a:pt x="103" y="224"/>
                      <a:pt x="93" y="214"/>
                      <a:pt x="93" y="205"/>
                    </a:cubicBezTo>
                    <a:cubicBezTo>
                      <a:pt x="93" y="196"/>
                      <a:pt x="103" y="186"/>
                      <a:pt x="112" y="186"/>
                    </a:cubicBezTo>
                    <a:close/>
                  </a:path>
                </a:pathLst>
              </a:custGeom>
              <a:solidFill>
                <a:schemeClr val="bg1"/>
              </a:solidFill>
              <a:ln w="9525">
                <a:noFill/>
                <a:round/>
                <a:headEnd/>
                <a:tailEnd/>
              </a:ln>
            </p:spPr>
            <p:txBody>
              <a:bodyPr anchor="ctr"/>
              <a:lstStyle/>
              <a:p>
                <a:pPr algn="ctr"/>
                <a:endParaRPr/>
              </a:p>
            </p:txBody>
          </p:sp>
          <p:grpSp>
            <p:nvGrpSpPr>
              <p:cNvPr id="26" name="îśḻiďe">
                <a:extLst>
                  <a:ext uri="{FF2B5EF4-FFF2-40B4-BE49-F238E27FC236}">
                    <a16:creationId xmlns:a16="http://schemas.microsoft.com/office/drawing/2014/main" id="{30C8CB60-7501-49A3-ADB8-E3E2E4215DE2}"/>
                  </a:ext>
                </a:extLst>
              </p:cNvPr>
              <p:cNvGrpSpPr/>
              <p:nvPr/>
            </p:nvGrpSpPr>
            <p:grpSpPr>
              <a:xfrm>
                <a:off x="6150864" y="3685897"/>
                <a:ext cx="1426464" cy="1426464"/>
                <a:chOff x="4613148" y="2852256"/>
                <a:chExt cx="1069848" cy="1069848"/>
              </a:xfrm>
            </p:grpSpPr>
            <p:sp>
              <p:nvSpPr>
                <p:cNvPr id="28" name="íṩļïde">
                  <a:extLst>
                    <a:ext uri="{FF2B5EF4-FFF2-40B4-BE49-F238E27FC236}">
                      <a16:creationId xmlns:a16="http://schemas.microsoft.com/office/drawing/2014/main" id="{914A8D2F-E6B8-4D8A-AA4C-E67C050AD2D8}"/>
                    </a:ext>
                  </a:extLst>
                </p:cNvPr>
                <p:cNvSpPr/>
                <p:nvPr/>
              </p:nvSpPr>
              <p:spPr>
                <a:xfrm>
                  <a:off x="4613148" y="2852256"/>
                  <a:ext cx="1069848" cy="1069848"/>
                </a:xfrm>
                <a:prstGeom prst="ellipse">
                  <a:avLst/>
                </a:prstGeom>
                <a:solidFill>
                  <a:schemeClr val="accent4"/>
                </a:solidFill>
                <a:ln w="381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endParaRPr/>
                </a:p>
              </p:txBody>
            </p:sp>
            <p:sp>
              <p:nvSpPr>
                <p:cNvPr id="29" name="íśļïdê">
                  <a:extLst>
                    <a:ext uri="{FF2B5EF4-FFF2-40B4-BE49-F238E27FC236}">
                      <a16:creationId xmlns:a16="http://schemas.microsoft.com/office/drawing/2014/main" id="{DBFFCDDE-BFAB-46BE-AE4B-D53AFB6E95BD}"/>
                    </a:ext>
                  </a:extLst>
                </p:cNvPr>
                <p:cNvSpPr/>
                <p:nvPr/>
              </p:nvSpPr>
              <p:spPr>
                <a:xfrm>
                  <a:off x="4665373" y="2904481"/>
                  <a:ext cx="965397" cy="965397"/>
                </a:xfrm>
                <a:prstGeom prst="ellipse">
                  <a:avLst/>
                </a:prstGeom>
                <a:ln w="38100"/>
              </p:spPr>
              <p:style>
                <a:lnRef idx="0">
                  <a:scrgbClr r="0" g="0" b="0"/>
                </a:lnRef>
                <a:fillRef idx="0">
                  <a:scrgbClr r="0" g="0" b="0"/>
                </a:fillRef>
                <a:effectRef idx="0">
                  <a:scrgbClr r="0" g="0" b="0"/>
                </a:effectRef>
                <a:fontRef idx="minor">
                  <a:schemeClr val="lt1"/>
                </a:fontRef>
              </p:style>
              <p:txBody>
                <a:bodyPr anchor="ctr"/>
                <a:lstStyle/>
                <a:p>
                  <a:pPr algn="ctr"/>
                  <a:endParaRPr/>
                </a:p>
              </p:txBody>
            </p:sp>
          </p:grpSp>
          <p:sp>
            <p:nvSpPr>
              <p:cNvPr id="27" name="ïṡľiḍê">
                <a:extLst>
                  <a:ext uri="{FF2B5EF4-FFF2-40B4-BE49-F238E27FC236}">
                    <a16:creationId xmlns:a16="http://schemas.microsoft.com/office/drawing/2014/main" id="{841FBB70-26DE-4F17-9CB0-8B6A7B9DC68A}"/>
                  </a:ext>
                </a:extLst>
              </p:cNvPr>
              <p:cNvSpPr/>
              <p:nvPr/>
            </p:nvSpPr>
            <p:spPr bwMode="auto">
              <a:xfrm>
                <a:off x="6648196" y="4183229"/>
                <a:ext cx="431800" cy="431800"/>
              </a:xfrm>
              <a:custGeom>
                <a:avLst/>
                <a:gdLst/>
                <a:ahLst/>
                <a:cxnLst>
                  <a:cxn ang="0">
                    <a:pos x="64" y="42"/>
                  </a:cxn>
                  <a:cxn ang="0">
                    <a:pos x="63" y="44"/>
                  </a:cxn>
                  <a:cxn ang="0">
                    <a:pos x="33" y="64"/>
                  </a:cxn>
                  <a:cxn ang="0">
                    <a:pos x="32" y="64"/>
                  </a:cxn>
                  <a:cxn ang="0">
                    <a:pos x="30" y="64"/>
                  </a:cxn>
                  <a:cxn ang="0">
                    <a:pos x="1" y="44"/>
                  </a:cxn>
                  <a:cxn ang="0">
                    <a:pos x="0" y="42"/>
                  </a:cxn>
                  <a:cxn ang="0">
                    <a:pos x="0" y="23"/>
                  </a:cxn>
                  <a:cxn ang="0">
                    <a:pos x="1" y="20"/>
                  </a:cxn>
                  <a:cxn ang="0">
                    <a:pos x="30" y="1"/>
                  </a:cxn>
                  <a:cxn ang="0">
                    <a:pos x="32" y="0"/>
                  </a:cxn>
                  <a:cxn ang="0">
                    <a:pos x="33" y="1"/>
                  </a:cxn>
                  <a:cxn ang="0">
                    <a:pos x="63" y="20"/>
                  </a:cxn>
                  <a:cxn ang="0">
                    <a:pos x="64" y="23"/>
                  </a:cxn>
                  <a:cxn ang="0">
                    <a:pos x="64" y="42"/>
                  </a:cxn>
                  <a:cxn ang="0">
                    <a:pos x="12" y="32"/>
                  </a:cxn>
                  <a:cxn ang="0">
                    <a:pos x="5" y="28"/>
                  </a:cxn>
                  <a:cxn ang="0">
                    <a:pos x="5" y="37"/>
                  </a:cxn>
                  <a:cxn ang="0">
                    <a:pos x="12" y="32"/>
                  </a:cxn>
                  <a:cxn ang="0">
                    <a:pos x="29" y="21"/>
                  </a:cxn>
                  <a:cxn ang="0">
                    <a:pos x="29" y="8"/>
                  </a:cxn>
                  <a:cxn ang="0">
                    <a:pos x="7" y="23"/>
                  </a:cxn>
                  <a:cxn ang="0">
                    <a:pos x="17" y="29"/>
                  </a:cxn>
                  <a:cxn ang="0">
                    <a:pos x="29" y="21"/>
                  </a:cxn>
                  <a:cxn ang="0">
                    <a:pos x="29" y="56"/>
                  </a:cxn>
                  <a:cxn ang="0">
                    <a:pos x="29" y="44"/>
                  </a:cxn>
                  <a:cxn ang="0">
                    <a:pos x="17" y="36"/>
                  </a:cxn>
                  <a:cxn ang="0">
                    <a:pos x="7" y="42"/>
                  </a:cxn>
                  <a:cxn ang="0">
                    <a:pos x="29" y="56"/>
                  </a:cxn>
                  <a:cxn ang="0">
                    <a:pos x="41" y="32"/>
                  </a:cxn>
                  <a:cxn ang="0">
                    <a:pos x="32" y="26"/>
                  </a:cxn>
                  <a:cxn ang="0">
                    <a:pos x="22" y="32"/>
                  </a:cxn>
                  <a:cxn ang="0">
                    <a:pos x="32" y="39"/>
                  </a:cxn>
                  <a:cxn ang="0">
                    <a:pos x="41" y="32"/>
                  </a:cxn>
                  <a:cxn ang="0">
                    <a:pos x="56" y="23"/>
                  </a:cxn>
                  <a:cxn ang="0">
                    <a:pos x="35" y="8"/>
                  </a:cxn>
                  <a:cxn ang="0">
                    <a:pos x="35" y="21"/>
                  </a:cxn>
                  <a:cxn ang="0">
                    <a:pos x="46" y="29"/>
                  </a:cxn>
                  <a:cxn ang="0">
                    <a:pos x="56" y="23"/>
                  </a:cxn>
                  <a:cxn ang="0">
                    <a:pos x="56" y="42"/>
                  </a:cxn>
                  <a:cxn ang="0">
                    <a:pos x="46" y="36"/>
                  </a:cxn>
                  <a:cxn ang="0">
                    <a:pos x="35" y="44"/>
                  </a:cxn>
                  <a:cxn ang="0">
                    <a:pos x="35" y="56"/>
                  </a:cxn>
                  <a:cxn ang="0">
                    <a:pos x="56" y="42"/>
                  </a:cxn>
                  <a:cxn ang="0">
                    <a:pos x="58" y="37"/>
                  </a:cxn>
                  <a:cxn ang="0">
                    <a:pos x="58" y="28"/>
                  </a:cxn>
                  <a:cxn ang="0">
                    <a:pos x="51" y="32"/>
                  </a:cxn>
                  <a:cxn ang="0">
                    <a:pos x="58" y="37"/>
                  </a:cxn>
                </a:cxnLst>
                <a:rect l="0" t="0" r="r" b="b"/>
                <a:pathLst>
                  <a:path w="64" h="64">
                    <a:moveTo>
                      <a:pt x="64" y="42"/>
                    </a:moveTo>
                    <a:cubicBezTo>
                      <a:pt x="64" y="43"/>
                      <a:pt x="63" y="44"/>
                      <a:pt x="63" y="44"/>
                    </a:cubicBezTo>
                    <a:cubicBezTo>
                      <a:pt x="33" y="64"/>
                      <a:pt x="33" y="64"/>
                      <a:pt x="33" y="64"/>
                    </a:cubicBezTo>
                    <a:cubicBezTo>
                      <a:pt x="33" y="64"/>
                      <a:pt x="32" y="64"/>
                      <a:pt x="32" y="64"/>
                    </a:cubicBezTo>
                    <a:cubicBezTo>
                      <a:pt x="31" y="64"/>
                      <a:pt x="31" y="64"/>
                      <a:pt x="30" y="64"/>
                    </a:cubicBezTo>
                    <a:cubicBezTo>
                      <a:pt x="1" y="44"/>
                      <a:pt x="1" y="44"/>
                      <a:pt x="1" y="44"/>
                    </a:cubicBezTo>
                    <a:cubicBezTo>
                      <a:pt x="0" y="44"/>
                      <a:pt x="0" y="43"/>
                      <a:pt x="0" y="42"/>
                    </a:cubicBezTo>
                    <a:cubicBezTo>
                      <a:pt x="0" y="23"/>
                      <a:pt x="0" y="23"/>
                      <a:pt x="0" y="23"/>
                    </a:cubicBezTo>
                    <a:cubicBezTo>
                      <a:pt x="0" y="22"/>
                      <a:pt x="0" y="21"/>
                      <a:pt x="1" y="20"/>
                    </a:cubicBezTo>
                    <a:cubicBezTo>
                      <a:pt x="30" y="1"/>
                      <a:pt x="30" y="1"/>
                      <a:pt x="30" y="1"/>
                    </a:cubicBezTo>
                    <a:cubicBezTo>
                      <a:pt x="31" y="1"/>
                      <a:pt x="31" y="0"/>
                      <a:pt x="32" y="0"/>
                    </a:cubicBezTo>
                    <a:cubicBezTo>
                      <a:pt x="32" y="0"/>
                      <a:pt x="33" y="1"/>
                      <a:pt x="33" y="1"/>
                    </a:cubicBezTo>
                    <a:cubicBezTo>
                      <a:pt x="63" y="20"/>
                      <a:pt x="63" y="20"/>
                      <a:pt x="63" y="20"/>
                    </a:cubicBezTo>
                    <a:cubicBezTo>
                      <a:pt x="63" y="21"/>
                      <a:pt x="64" y="22"/>
                      <a:pt x="64" y="23"/>
                    </a:cubicBezTo>
                    <a:lnTo>
                      <a:pt x="64" y="42"/>
                    </a:lnTo>
                    <a:close/>
                    <a:moveTo>
                      <a:pt x="12" y="32"/>
                    </a:moveTo>
                    <a:cubicBezTo>
                      <a:pt x="5" y="28"/>
                      <a:pt x="5" y="28"/>
                      <a:pt x="5" y="28"/>
                    </a:cubicBezTo>
                    <a:cubicBezTo>
                      <a:pt x="5" y="37"/>
                      <a:pt x="5" y="37"/>
                      <a:pt x="5" y="37"/>
                    </a:cubicBezTo>
                    <a:lnTo>
                      <a:pt x="12" y="32"/>
                    </a:lnTo>
                    <a:close/>
                    <a:moveTo>
                      <a:pt x="29" y="21"/>
                    </a:moveTo>
                    <a:cubicBezTo>
                      <a:pt x="29" y="8"/>
                      <a:pt x="29" y="8"/>
                      <a:pt x="29" y="8"/>
                    </a:cubicBezTo>
                    <a:cubicBezTo>
                      <a:pt x="7" y="23"/>
                      <a:pt x="7" y="23"/>
                      <a:pt x="7" y="23"/>
                    </a:cubicBezTo>
                    <a:cubicBezTo>
                      <a:pt x="17" y="29"/>
                      <a:pt x="17" y="29"/>
                      <a:pt x="17" y="29"/>
                    </a:cubicBezTo>
                    <a:lnTo>
                      <a:pt x="29" y="21"/>
                    </a:lnTo>
                    <a:close/>
                    <a:moveTo>
                      <a:pt x="29" y="56"/>
                    </a:moveTo>
                    <a:cubicBezTo>
                      <a:pt x="29" y="44"/>
                      <a:pt x="29" y="44"/>
                      <a:pt x="29" y="44"/>
                    </a:cubicBezTo>
                    <a:cubicBezTo>
                      <a:pt x="17" y="36"/>
                      <a:pt x="17" y="36"/>
                      <a:pt x="17" y="36"/>
                    </a:cubicBezTo>
                    <a:cubicBezTo>
                      <a:pt x="7" y="42"/>
                      <a:pt x="7" y="42"/>
                      <a:pt x="7" y="42"/>
                    </a:cubicBezTo>
                    <a:lnTo>
                      <a:pt x="29" y="56"/>
                    </a:lnTo>
                    <a:close/>
                    <a:moveTo>
                      <a:pt x="41" y="32"/>
                    </a:moveTo>
                    <a:cubicBezTo>
                      <a:pt x="32" y="26"/>
                      <a:pt x="32" y="26"/>
                      <a:pt x="32" y="26"/>
                    </a:cubicBezTo>
                    <a:cubicBezTo>
                      <a:pt x="22" y="32"/>
                      <a:pt x="22" y="32"/>
                      <a:pt x="22" y="32"/>
                    </a:cubicBezTo>
                    <a:cubicBezTo>
                      <a:pt x="32" y="39"/>
                      <a:pt x="32" y="39"/>
                      <a:pt x="32" y="39"/>
                    </a:cubicBezTo>
                    <a:lnTo>
                      <a:pt x="41" y="32"/>
                    </a:lnTo>
                    <a:close/>
                    <a:moveTo>
                      <a:pt x="56" y="23"/>
                    </a:moveTo>
                    <a:cubicBezTo>
                      <a:pt x="35" y="8"/>
                      <a:pt x="35" y="8"/>
                      <a:pt x="35" y="8"/>
                    </a:cubicBezTo>
                    <a:cubicBezTo>
                      <a:pt x="35" y="21"/>
                      <a:pt x="35" y="21"/>
                      <a:pt x="35" y="21"/>
                    </a:cubicBezTo>
                    <a:cubicBezTo>
                      <a:pt x="46" y="29"/>
                      <a:pt x="46" y="29"/>
                      <a:pt x="46" y="29"/>
                    </a:cubicBezTo>
                    <a:lnTo>
                      <a:pt x="56" y="23"/>
                    </a:lnTo>
                    <a:close/>
                    <a:moveTo>
                      <a:pt x="56" y="42"/>
                    </a:moveTo>
                    <a:cubicBezTo>
                      <a:pt x="46" y="36"/>
                      <a:pt x="46" y="36"/>
                      <a:pt x="46" y="36"/>
                    </a:cubicBezTo>
                    <a:cubicBezTo>
                      <a:pt x="35" y="44"/>
                      <a:pt x="35" y="44"/>
                      <a:pt x="35" y="44"/>
                    </a:cubicBezTo>
                    <a:cubicBezTo>
                      <a:pt x="35" y="56"/>
                      <a:pt x="35" y="56"/>
                      <a:pt x="35" y="56"/>
                    </a:cubicBezTo>
                    <a:lnTo>
                      <a:pt x="56" y="42"/>
                    </a:lnTo>
                    <a:close/>
                    <a:moveTo>
                      <a:pt x="58" y="37"/>
                    </a:moveTo>
                    <a:cubicBezTo>
                      <a:pt x="58" y="28"/>
                      <a:pt x="58" y="28"/>
                      <a:pt x="58" y="28"/>
                    </a:cubicBezTo>
                    <a:cubicBezTo>
                      <a:pt x="51" y="32"/>
                      <a:pt x="51" y="32"/>
                      <a:pt x="51" y="32"/>
                    </a:cubicBezTo>
                    <a:lnTo>
                      <a:pt x="58" y="37"/>
                    </a:lnTo>
                    <a:close/>
                  </a:path>
                </a:pathLst>
              </a:custGeom>
              <a:solidFill>
                <a:schemeClr val="bg1"/>
              </a:solidFill>
              <a:ln w="9525">
                <a:noFill/>
                <a:round/>
                <a:headEnd/>
                <a:tailEnd/>
              </a:ln>
            </p:spPr>
            <p:txBody>
              <a:bodyPr anchor="ctr"/>
              <a:lstStyle/>
              <a:p>
                <a:pPr algn="ctr"/>
                <a:endParaRPr/>
              </a:p>
            </p:txBody>
          </p:sp>
        </p:grpSp>
        <p:sp>
          <p:nvSpPr>
            <p:cNvPr id="7" name="íSḷíḓé">
              <a:extLst>
                <a:ext uri="{FF2B5EF4-FFF2-40B4-BE49-F238E27FC236}">
                  <a16:creationId xmlns:a16="http://schemas.microsoft.com/office/drawing/2014/main" id="{7C682402-77C1-4ED7-9584-9B7C7661C3A2}"/>
                </a:ext>
              </a:extLst>
            </p:cNvPr>
            <p:cNvSpPr txBox="1"/>
            <p:nvPr/>
          </p:nvSpPr>
          <p:spPr>
            <a:xfrm>
              <a:off x="680199" y="1674000"/>
              <a:ext cx="3958559" cy="726128"/>
            </a:xfrm>
            <a:prstGeom prst="rect">
              <a:avLst/>
            </a:prstGeom>
            <a:noFill/>
            <a:ln w="12700" cap="flat" cmpd="sng" algn="ctr">
              <a:noFill/>
              <a:prstDash val="solid"/>
              <a:round/>
              <a:headEnd type="none" w="med" len="med"/>
              <a:tailEnd type="none" w="med" len="med"/>
            </a:ln>
            <a:extLst>
              <a:ext uri="{91240B29-F687-4F45-9708-019B960494DF}">
                <a14:hiddenLine xmlns:a14="http://schemas.microsoft.com/office/drawing/2010/main" w="12700" cap="flat" cmpd="sng" algn="ctr">
                  <a:solidFill>
                    <a:schemeClr val="accent4">
                      <a:lumMod val="100000"/>
                    </a:schemeClr>
                  </a:solidFill>
                  <a:prstDash val="solid"/>
                  <a:round/>
                  <a:headEnd type="none" w="med" len="med"/>
                  <a:tailEnd type="none" w="med" len="med"/>
                </a14:hiddenLine>
              </a:ext>
            </a:extLst>
          </p:spPr>
          <p:txBody>
            <a:bodyPr wrap="none" lIns="90000" tIns="46800" rIns="90000" bIns="46800" anchor="b" anchorCtr="0">
              <a:normAutofit/>
            </a:bodyPr>
            <a:lstStyle/>
            <a:p>
              <a:pPr algn="r"/>
              <a:r>
                <a:rPr lang="en-US" altLang="zh-CN" sz="3200" b="1" dirty="0" err="1"/>
                <a:t>FLume</a:t>
              </a:r>
              <a:endParaRPr lang="zh-CN" altLang="en-US" sz="3200" b="1" dirty="0"/>
            </a:p>
          </p:txBody>
        </p:sp>
        <p:sp>
          <p:nvSpPr>
            <p:cNvPr id="9" name="ïṣḻíďè">
              <a:extLst>
                <a:ext uri="{FF2B5EF4-FFF2-40B4-BE49-F238E27FC236}">
                  <a16:creationId xmlns:a16="http://schemas.microsoft.com/office/drawing/2014/main" id="{70F5B104-3C59-4D38-826A-B89B7B9FD81A}"/>
                </a:ext>
              </a:extLst>
            </p:cNvPr>
            <p:cNvSpPr txBox="1"/>
            <p:nvPr/>
          </p:nvSpPr>
          <p:spPr>
            <a:xfrm>
              <a:off x="7679530" y="1674000"/>
              <a:ext cx="4171094" cy="607296"/>
            </a:xfrm>
            <a:prstGeom prst="rect">
              <a:avLst/>
            </a:prstGeom>
            <a:noFill/>
            <a:ln w="12700" cap="flat" cmpd="sng" algn="ctr">
              <a:noFill/>
              <a:prstDash val="solid"/>
              <a:round/>
              <a:headEnd type="none" w="med" len="med"/>
              <a:tailEnd type="none" w="med" len="med"/>
            </a:ln>
            <a:extLst>
              <a:ext uri="{91240B29-F687-4F45-9708-019B960494DF}">
                <a14:hiddenLine xmlns:a14="http://schemas.microsoft.com/office/drawing/2010/main" w="12700" cap="flat" cmpd="sng" algn="ctr">
                  <a:solidFill>
                    <a:schemeClr val="accent4">
                      <a:lumMod val="100000"/>
                    </a:schemeClr>
                  </a:solidFill>
                  <a:prstDash val="solid"/>
                  <a:round/>
                  <a:headEnd type="none" w="med" len="med"/>
                  <a:tailEnd type="none" w="med" len="med"/>
                </a14:hiddenLine>
              </a:ext>
            </a:extLst>
          </p:spPr>
          <p:txBody>
            <a:bodyPr wrap="none" lIns="90000" tIns="46800" rIns="90000" bIns="46800" anchor="b" anchorCtr="0">
              <a:normAutofit/>
            </a:bodyPr>
            <a:lstStyle/>
            <a:p>
              <a:r>
                <a:rPr lang="en-US" altLang="zh-CN" sz="3200" b="1" dirty="0" err="1"/>
                <a:t>Flink</a:t>
              </a:r>
              <a:endParaRPr lang="zh-CN" altLang="en-US" sz="3200" b="1" dirty="0"/>
            </a:p>
          </p:txBody>
        </p:sp>
        <p:sp>
          <p:nvSpPr>
            <p:cNvPr id="11" name="ïŝlïḑe">
              <a:extLst>
                <a:ext uri="{FF2B5EF4-FFF2-40B4-BE49-F238E27FC236}">
                  <a16:creationId xmlns:a16="http://schemas.microsoft.com/office/drawing/2014/main" id="{175338D9-A90A-4CC2-9B7A-51F4B351B535}"/>
                </a:ext>
              </a:extLst>
            </p:cNvPr>
            <p:cNvSpPr txBox="1"/>
            <p:nvPr/>
          </p:nvSpPr>
          <p:spPr>
            <a:xfrm>
              <a:off x="146304" y="4032504"/>
              <a:ext cx="4375096" cy="836531"/>
            </a:xfrm>
            <a:prstGeom prst="rect">
              <a:avLst/>
            </a:prstGeom>
            <a:noFill/>
            <a:ln w="12700" cap="flat" cmpd="sng" algn="ctr">
              <a:noFill/>
              <a:prstDash val="solid"/>
              <a:round/>
              <a:headEnd type="none" w="med" len="med"/>
              <a:tailEnd type="none" w="med" len="med"/>
            </a:ln>
            <a:extLst>
              <a:ext uri="{91240B29-F687-4F45-9708-019B960494DF}">
                <a14:hiddenLine xmlns:a14="http://schemas.microsoft.com/office/drawing/2010/main" w="12700" cap="flat" cmpd="sng" algn="ctr">
                  <a:solidFill>
                    <a:schemeClr val="accent4">
                      <a:lumMod val="100000"/>
                    </a:schemeClr>
                  </a:solidFill>
                  <a:prstDash val="solid"/>
                  <a:round/>
                  <a:headEnd type="none" w="med" len="med"/>
                  <a:tailEnd type="none" w="med" len="med"/>
                </a14:hiddenLine>
              </a:ext>
            </a:extLst>
          </p:spPr>
          <p:txBody>
            <a:bodyPr wrap="none" lIns="90000" tIns="46800" rIns="90000" bIns="46800" anchor="b" anchorCtr="0">
              <a:normAutofit/>
            </a:bodyPr>
            <a:lstStyle/>
            <a:p>
              <a:pPr algn="r"/>
              <a:r>
                <a:rPr lang="en-US" altLang="zh-CN" sz="3200" b="1" dirty="0"/>
                <a:t>Kafka</a:t>
              </a:r>
              <a:endParaRPr lang="zh-CN" altLang="en-US" b="1" dirty="0"/>
            </a:p>
          </p:txBody>
        </p:sp>
        <p:sp>
          <p:nvSpPr>
            <p:cNvPr id="13" name="ïšļïḑè">
              <a:extLst>
                <a:ext uri="{FF2B5EF4-FFF2-40B4-BE49-F238E27FC236}">
                  <a16:creationId xmlns:a16="http://schemas.microsoft.com/office/drawing/2014/main" id="{32FEA078-9DC3-4F3C-902C-80E0B96D2955}"/>
                </a:ext>
              </a:extLst>
            </p:cNvPr>
            <p:cNvSpPr txBox="1"/>
            <p:nvPr/>
          </p:nvSpPr>
          <p:spPr>
            <a:xfrm>
              <a:off x="7679530" y="4032504"/>
              <a:ext cx="3657600" cy="703425"/>
            </a:xfrm>
            <a:prstGeom prst="rect">
              <a:avLst/>
            </a:prstGeom>
            <a:noFill/>
            <a:ln w="12700" cap="flat" cmpd="sng" algn="ctr">
              <a:noFill/>
              <a:prstDash val="solid"/>
              <a:round/>
              <a:headEnd type="none" w="med" len="med"/>
              <a:tailEnd type="none" w="med" len="med"/>
            </a:ln>
            <a:extLst>
              <a:ext uri="{91240B29-F687-4F45-9708-019B960494DF}">
                <a14:hiddenLine xmlns:a14="http://schemas.microsoft.com/office/drawing/2010/main" w="12700" cap="flat" cmpd="sng" algn="ctr">
                  <a:solidFill>
                    <a:schemeClr val="accent4">
                      <a:lumMod val="100000"/>
                    </a:schemeClr>
                  </a:solidFill>
                  <a:prstDash val="solid"/>
                  <a:round/>
                  <a:headEnd type="none" w="med" len="med"/>
                  <a:tailEnd type="none" w="med" len="med"/>
                </a14:hiddenLine>
              </a:ext>
            </a:extLst>
          </p:spPr>
          <p:txBody>
            <a:bodyPr wrap="none" lIns="90000" tIns="46800" rIns="90000" bIns="46800" anchor="b" anchorCtr="0">
              <a:normAutofit/>
            </a:bodyPr>
            <a:lstStyle/>
            <a:p>
              <a:r>
                <a:rPr lang="en-US" altLang="zh-CN" sz="3200" b="1" dirty="0" err="1"/>
                <a:t>Mysql</a:t>
              </a:r>
              <a:endParaRPr lang="zh-CN" altLang="en-US" sz="3200" b="1" dirty="0"/>
            </a:p>
          </p:txBody>
        </p:sp>
      </p:grpSp>
      <p:pic>
        <p:nvPicPr>
          <p:cNvPr id="4098" name="Picture 2" descr="Logo">
            <a:extLst>
              <a:ext uri="{FF2B5EF4-FFF2-40B4-BE49-F238E27FC236}">
                <a16:creationId xmlns:a16="http://schemas.microsoft.com/office/drawing/2014/main" id="{75ED360E-36BD-46E8-A06A-E279744153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6299" y="1457004"/>
            <a:ext cx="2108043" cy="2108043"/>
          </a:xfrm>
          <a:prstGeom prst="rect">
            <a:avLst/>
          </a:prstGeom>
          <a:noFill/>
          <a:extLst>
            <a:ext uri="{909E8E84-426E-40DD-AFC4-6F175D3DCCD1}">
              <a14:hiddenFill xmlns:a14="http://schemas.microsoft.com/office/drawing/2010/main">
                <a:solidFill>
                  <a:srgbClr val="FFFFFF"/>
                </a:solidFill>
              </a14:hiddenFill>
            </a:ext>
          </a:extLst>
        </p:spPr>
      </p:pic>
      <p:pic>
        <p:nvPicPr>
          <p:cNvPr id="44" name="图片 43">
            <a:extLst>
              <a:ext uri="{FF2B5EF4-FFF2-40B4-BE49-F238E27FC236}">
                <a16:creationId xmlns:a16="http://schemas.microsoft.com/office/drawing/2014/main" id="{0D3EE812-3578-4219-909C-2DD950A6A8BA}"/>
              </a:ext>
            </a:extLst>
          </p:cNvPr>
          <p:cNvPicPr>
            <a:picLocks noChangeAspect="1"/>
          </p:cNvPicPr>
          <p:nvPr/>
        </p:nvPicPr>
        <p:blipFill>
          <a:blip r:embed="rId5"/>
          <a:stretch>
            <a:fillRect/>
          </a:stretch>
        </p:blipFill>
        <p:spPr>
          <a:xfrm>
            <a:off x="9125413" y="4245187"/>
            <a:ext cx="2377859" cy="1565908"/>
          </a:xfrm>
          <a:prstGeom prst="rect">
            <a:avLst/>
          </a:prstGeom>
        </p:spPr>
      </p:pic>
      <p:pic>
        <p:nvPicPr>
          <p:cNvPr id="46" name="图片 45">
            <a:extLst>
              <a:ext uri="{FF2B5EF4-FFF2-40B4-BE49-F238E27FC236}">
                <a16:creationId xmlns:a16="http://schemas.microsoft.com/office/drawing/2014/main" id="{7249AD98-D67D-4DBD-A6CA-02803837941E}"/>
              </a:ext>
            </a:extLst>
          </p:cNvPr>
          <p:cNvPicPr>
            <a:picLocks noChangeAspect="1"/>
          </p:cNvPicPr>
          <p:nvPr/>
        </p:nvPicPr>
        <p:blipFill>
          <a:blip r:embed="rId6"/>
          <a:stretch>
            <a:fillRect/>
          </a:stretch>
        </p:blipFill>
        <p:spPr>
          <a:xfrm>
            <a:off x="8790473" y="1996268"/>
            <a:ext cx="2967161" cy="1501747"/>
          </a:xfrm>
          <a:prstGeom prst="rect">
            <a:avLst/>
          </a:prstGeom>
        </p:spPr>
      </p:pic>
    </p:spTree>
    <p:extLst>
      <p:ext uri="{BB962C8B-B14F-4D97-AF65-F5344CB8AC3E}">
        <p14:creationId xmlns:p14="http://schemas.microsoft.com/office/powerpoint/2010/main" val="25533757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07CB024-7E65-4D29-BDE6-04E0ED6F5535}"/>
              </a:ext>
            </a:extLst>
          </p:cNvPr>
          <p:cNvSpPr>
            <a:spLocks noGrp="1"/>
          </p:cNvSpPr>
          <p:nvPr>
            <p:ph type="title"/>
          </p:nvPr>
        </p:nvSpPr>
        <p:spPr/>
        <p:txBody>
          <a:bodyPr/>
          <a:lstStyle/>
          <a:p>
            <a:r>
              <a:rPr lang="en-US" altLang="zh-CN" dirty="0"/>
              <a:t>Flume</a:t>
            </a:r>
            <a:endParaRPr lang="zh-CN" altLang="en-US" dirty="0"/>
          </a:p>
        </p:txBody>
      </p:sp>
      <p:pic>
        <p:nvPicPr>
          <p:cNvPr id="5" name="Picture 2" descr="Logo">
            <a:extLst>
              <a:ext uri="{FF2B5EF4-FFF2-40B4-BE49-F238E27FC236}">
                <a16:creationId xmlns:a16="http://schemas.microsoft.com/office/drawing/2014/main" id="{6FC2B7F2-9AB2-4F0F-991D-675EAE0D62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7434" y="1028700"/>
            <a:ext cx="2710550" cy="2710550"/>
          </a:xfrm>
          <a:prstGeom prst="rect">
            <a:avLst/>
          </a:prstGeom>
          <a:noFill/>
          <a:extLst>
            <a:ext uri="{909E8E84-426E-40DD-AFC4-6F175D3DCCD1}">
              <a14:hiddenFill xmlns:a14="http://schemas.microsoft.com/office/drawing/2010/main">
                <a:solidFill>
                  <a:srgbClr val="FFFFFF"/>
                </a:solidFill>
              </a14:hiddenFill>
            </a:ext>
          </a:extLst>
        </p:spPr>
      </p:pic>
      <p:sp>
        <p:nvSpPr>
          <p:cNvPr id="6" name="文本框 5">
            <a:extLst>
              <a:ext uri="{FF2B5EF4-FFF2-40B4-BE49-F238E27FC236}">
                <a16:creationId xmlns:a16="http://schemas.microsoft.com/office/drawing/2014/main" id="{805B4A15-1F21-433F-AEE5-208417DFA26A}"/>
              </a:ext>
            </a:extLst>
          </p:cNvPr>
          <p:cNvSpPr txBox="1"/>
          <p:nvPr/>
        </p:nvSpPr>
        <p:spPr>
          <a:xfrm>
            <a:off x="4266833" y="1387980"/>
            <a:ext cx="7253654" cy="1704954"/>
          </a:xfrm>
          <a:prstGeom prst="rect">
            <a:avLst/>
          </a:prstGeom>
          <a:noFill/>
        </p:spPr>
        <p:txBody>
          <a:bodyPr wrap="square" rtlCol="0">
            <a:spAutoFit/>
          </a:bodyPr>
          <a:lstStyle/>
          <a:p>
            <a:pPr>
              <a:lnSpc>
                <a:spcPct val="150000"/>
              </a:lnSpc>
            </a:pPr>
            <a:r>
              <a:rPr lang="en-US" altLang="zh-CN" dirty="0"/>
              <a:t>Flume </a:t>
            </a:r>
            <a:r>
              <a:rPr lang="zh-CN" altLang="en-US" dirty="0"/>
              <a:t>是一个分布式、可靠、和高可用的海量日志采集、聚合和传输的系统。支持在日志系统中定制各类数据发送方，用于收集数据；同时，</a:t>
            </a:r>
            <a:r>
              <a:rPr lang="en-US" altLang="zh-CN" dirty="0"/>
              <a:t>Flume </a:t>
            </a:r>
            <a:r>
              <a:rPr lang="zh-CN" altLang="en-US" dirty="0"/>
              <a:t>提供对数据进行简单处理，并写到各种数据接受方</a:t>
            </a:r>
            <a:r>
              <a:rPr lang="en-US" altLang="zh-CN" dirty="0"/>
              <a:t>(</a:t>
            </a:r>
            <a:r>
              <a:rPr lang="zh-CN" altLang="en-US" dirty="0"/>
              <a:t>比如文本、</a:t>
            </a:r>
            <a:r>
              <a:rPr lang="en-US" altLang="zh-CN" dirty="0"/>
              <a:t>HDFS</a:t>
            </a:r>
            <a:r>
              <a:rPr lang="zh-CN" altLang="en-US" dirty="0"/>
              <a:t>、</a:t>
            </a:r>
            <a:r>
              <a:rPr lang="en-US" altLang="zh-CN" dirty="0" err="1"/>
              <a:t>Hbase</a:t>
            </a:r>
            <a:r>
              <a:rPr lang="en-US" altLang="zh-CN" dirty="0"/>
              <a:t> </a:t>
            </a:r>
            <a:r>
              <a:rPr lang="zh-CN" altLang="en-US" dirty="0"/>
              <a:t>等</a:t>
            </a:r>
            <a:r>
              <a:rPr lang="en-US" altLang="zh-CN" dirty="0"/>
              <a:t>)</a:t>
            </a:r>
            <a:r>
              <a:rPr lang="zh-CN" altLang="en-US" dirty="0"/>
              <a:t>的能力 。</a:t>
            </a:r>
          </a:p>
        </p:txBody>
      </p:sp>
      <p:sp>
        <p:nvSpPr>
          <p:cNvPr id="7" name="文本框 6">
            <a:extLst>
              <a:ext uri="{FF2B5EF4-FFF2-40B4-BE49-F238E27FC236}">
                <a16:creationId xmlns:a16="http://schemas.microsoft.com/office/drawing/2014/main" id="{43AAED31-BA30-490D-A8DD-B1B79B064141}"/>
              </a:ext>
            </a:extLst>
          </p:cNvPr>
          <p:cNvSpPr txBox="1"/>
          <p:nvPr/>
        </p:nvSpPr>
        <p:spPr>
          <a:xfrm>
            <a:off x="4266833" y="3739250"/>
            <a:ext cx="7253654" cy="1289456"/>
          </a:xfrm>
          <a:prstGeom prst="rect">
            <a:avLst/>
          </a:prstGeom>
          <a:noFill/>
        </p:spPr>
        <p:txBody>
          <a:bodyPr wrap="square" rtlCol="0">
            <a:spAutoFit/>
          </a:bodyPr>
          <a:lstStyle/>
          <a:p>
            <a:pPr>
              <a:lnSpc>
                <a:spcPct val="150000"/>
              </a:lnSpc>
            </a:pPr>
            <a:r>
              <a:rPr lang="zh-CN" altLang="en-US" dirty="0"/>
              <a:t>在本实验中，</a:t>
            </a:r>
            <a:r>
              <a:rPr lang="en-US" altLang="zh-CN" dirty="0"/>
              <a:t>Flume</a:t>
            </a:r>
            <a:r>
              <a:rPr lang="zh-CN" altLang="en-US" dirty="0"/>
              <a:t>的数据发送方是数据生成的目录，由于</a:t>
            </a:r>
            <a:r>
              <a:rPr lang="en-US" altLang="zh-CN" dirty="0"/>
              <a:t>Flume</a:t>
            </a:r>
            <a:r>
              <a:rPr lang="zh-CN" altLang="en-US" dirty="0"/>
              <a:t>是事件驱动的，因此目录中每生成一条记录就是一个事件，</a:t>
            </a:r>
            <a:r>
              <a:rPr lang="en-US" altLang="zh-CN" dirty="0"/>
              <a:t>Flume</a:t>
            </a:r>
            <a:r>
              <a:rPr lang="zh-CN" altLang="en-US" dirty="0"/>
              <a:t>就会将生成的商品文本记录发送到</a:t>
            </a:r>
            <a:r>
              <a:rPr lang="en-US" altLang="zh-CN" dirty="0"/>
              <a:t>Kafka</a:t>
            </a:r>
            <a:r>
              <a:rPr lang="zh-CN" altLang="en-US" dirty="0"/>
              <a:t>中，通过</a:t>
            </a:r>
            <a:r>
              <a:rPr lang="en-US" altLang="zh-CN" dirty="0"/>
              <a:t>Kafka</a:t>
            </a:r>
            <a:r>
              <a:rPr lang="zh-CN" altLang="en-US" dirty="0"/>
              <a:t>将数据进行分发。</a:t>
            </a:r>
          </a:p>
        </p:txBody>
      </p:sp>
      <p:pic>
        <p:nvPicPr>
          <p:cNvPr id="5122" name="Picture 2" descr="Agent component diagram">
            <a:extLst>
              <a:ext uri="{FF2B5EF4-FFF2-40B4-BE49-F238E27FC236}">
                <a16:creationId xmlns:a16="http://schemas.microsoft.com/office/drawing/2014/main" id="{DA2D4ABB-9EE4-4C88-A130-56AD8F5D3D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8584" y="4362363"/>
            <a:ext cx="4343400" cy="1819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35890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0b9c8093-9192-4d88-b226-54ed48a7244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ISLIDE.DIAGRAM" val="5f7104f9-89a6-455b-9af1-50e23fb95307"/>
</p:tagLst>
</file>

<file path=ppt/tags/tag5.xml><?xml version="1.0" encoding="utf-8"?>
<p:tagLst xmlns:a="http://schemas.openxmlformats.org/drawingml/2006/main" xmlns:r="http://schemas.openxmlformats.org/officeDocument/2006/relationships" xmlns:p="http://schemas.openxmlformats.org/presentationml/2006/main">
  <p:tag name="ISLIDE.DIAGRAM" val="2acf26f0-9a9a-4492-a32b-8545e2447d1c"/>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6D8CD9"/>
      </a:accent1>
      <a:accent2>
        <a:srgbClr val="278FB0"/>
      </a:accent2>
      <a:accent3>
        <a:srgbClr val="36ACC7"/>
      </a:accent3>
      <a:accent4>
        <a:srgbClr val="FFAE00"/>
      </a:accent4>
      <a:accent5>
        <a:srgbClr val="70AD2B"/>
      </a:accent5>
      <a:accent6>
        <a:srgbClr val="74777E"/>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6D8CD9"/>
    </a:accent1>
    <a:accent2>
      <a:srgbClr val="278FB0"/>
    </a:accent2>
    <a:accent3>
      <a:srgbClr val="36ACC7"/>
    </a:accent3>
    <a:accent4>
      <a:srgbClr val="FFAE00"/>
    </a:accent4>
    <a:accent5>
      <a:srgbClr val="70AD2B"/>
    </a:accent5>
    <a:accent6>
      <a:srgbClr val="74777E"/>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6D8CD9"/>
    </a:accent1>
    <a:accent2>
      <a:srgbClr val="278FB0"/>
    </a:accent2>
    <a:accent3>
      <a:srgbClr val="36ACC7"/>
    </a:accent3>
    <a:accent4>
      <a:srgbClr val="FFAE00"/>
    </a:accent4>
    <a:accent5>
      <a:srgbClr val="70AD2B"/>
    </a:accent5>
    <a:accent6>
      <a:srgbClr val="74777E"/>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6D8CD9"/>
    </a:accent1>
    <a:accent2>
      <a:srgbClr val="278FB0"/>
    </a:accent2>
    <a:accent3>
      <a:srgbClr val="36ACC7"/>
    </a:accent3>
    <a:accent4>
      <a:srgbClr val="FFAE00"/>
    </a:accent4>
    <a:accent5>
      <a:srgbClr val="70AD2B"/>
    </a:accent5>
    <a:accent6>
      <a:srgbClr val="74777E"/>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6D8CD9"/>
    </a:accent1>
    <a:accent2>
      <a:srgbClr val="278FB0"/>
    </a:accent2>
    <a:accent3>
      <a:srgbClr val="36ACC7"/>
    </a:accent3>
    <a:accent4>
      <a:srgbClr val="FFAE00"/>
    </a:accent4>
    <a:accent5>
      <a:srgbClr val="70AD2B"/>
    </a:accent5>
    <a:accent6>
      <a:srgbClr val="74777E"/>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6D8CD9"/>
    </a:accent1>
    <a:accent2>
      <a:srgbClr val="278FB0"/>
    </a:accent2>
    <a:accent3>
      <a:srgbClr val="36ACC7"/>
    </a:accent3>
    <a:accent4>
      <a:srgbClr val="FFAE00"/>
    </a:accent4>
    <a:accent5>
      <a:srgbClr val="70AD2B"/>
    </a:accent5>
    <a:accent6>
      <a:srgbClr val="74777E"/>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6D8CD9"/>
    </a:accent1>
    <a:accent2>
      <a:srgbClr val="278FB0"/>
    </a:accent2>
    <a:accent3>
      <a:srgbClr val="36ACC7"/>
    </a:accent3>
    <a:accent4>
      <a:srgbClr val="FFAE00"/>
    </a:accent4>
    <a:accent5>
      <a:srgbClr val="70AD2B"/>
    </a:accent5>
    <a:accent6>
      <a:srgbClr val="74777E"/>
    </a:accent6>
    <a:hlink>
      <a:srgbClr val="4276AA"/>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6D8CD9"/>
    </a:accent1>
    <a:accent2>
      <a:srgbClr val="278FB0"/>
    </a:accent2>
    <a:accent3>
      <a:srgbClr val="36ACC7"/>
    </a:accent3>
    <a:accent4>
      <a:srgbClr val="FFAE00"/>
    </a:accent4>
    <a:accent5>
      <a:srgbClr val="70AD2B"/>
    </a:accent5>
    <a:accent6>
      <a:srgbClr val="74777E"/>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159</TotalTime>
  <Words>1191</Words>
  <Application>Microsoft Office PowerPoint</Application>
  <PresentationFormat>宽屏</PresentationFormat>
  <Paragraphs>68</Paragraphs>
  <Slides>21</Slides>
  <Notes>0</Notes>
  <HiddenSlides>0</HiddenSlides>
  <MMClips>0</MMClips>
  <ScaleCrop>false</ScaleCrop>
  <HeadingPairs>
    <vt:vector size="8" baseType="variant">
      <vt:variant>
        <vt:lpstr>已用的字体</vt:lpstr>
      </vt:variant>
      <vt:variant>
        <vt:i4>3</vt:i4>
      </vt:variant>
      <vt:variant>
        <vt:lpstr>主题</vt:lpstr>
      </vt:variant>
      <vt:variant>
        <vt:i4>1</vt:i4>
      </vt:variant>
      <vt:variant>
        <vt:lpstr>嵌入 OLE 服务器</vt:lpstr>
      </vt:variant>
      <vt:variant>
        <vt:i4>1</vt:i4>
      </vt:variant>
      <vt:variant>
        <vt:lpstr>幻灯片标题</vt:lpstr>
      </vt:variant>
      <vt:variant>
        <vt:i4>21</vt:i4>
      </vt:variant>
    </vt:vector>
  </HeadingPairs>
  <TitlesOfParts>
    <vt:vector size="26" baseType="lpstr">
      <vt:lpstr>Arial</vt:lpstr>
      <vt:lpstr>Calibri</vt:lpstr>
      <vt:lpstr>Impact</vt:lpstr>
      <vt:lpstr>主题5</vt:lpstr>
      <vt:lpstr>think-cell Slide</vt:lpstr>
      <vt:lpstr>大数据课程 设计报告</vt:lpstr>
      <vt:lpstr>PowerPoint 演示文稿</vt:lpstr>
      <vt:lpstr>实验介绍</vt:lpstr>
      <vt:lpstr>实验三：大数据实时分析处理</vt:lpstr>
      <vt:lpstr>架构分析</vt:lpstr>
      <vt:lpstr>架构分析</vt:lpstr>
      <vt:lpstr>大数据组件</vt:lpstr>
      <vt:lpstr>核心组件</vt:lpstr>
      <vt:lpstr>Flume</vt:lpstr>
      <vt:lpstr>Kafka</vt:lpstr>
      <vt:lpstr>Flink</vt:lpstr>
      <vt:lpstr>实验流程</vt:lpstr>
      <vt:lpstr>实验流程</vt:lpstr>
      <vt:lpstr>总结</vt:lpstr>
      <vt:lpstr>总结</vt:lpstr>
      <vt:lpstr>总结</vt:lpstr>
      <vt:lpstr>总结</vt:lpstr>
      <vt:lpstr>总结</vt:lpstr>
      <vt:lpstr>总结</vt:lpstr>
      <vt:lpstr>总结</vt:lpstr>
      <vt:lpstr>谢谢观看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嘉伟 刘</cp:lastModifiedBy>
  <cp:revision>25</cp:revision>
  <cp:lastPrinted>2018-05-28T16:00:00Z</cp:lastPrinted>
  <dcterms:created xsi:type="dcterms:W3CDTF">2018-05-28T16:00:00Z</dcterms:created>
  <dcterms:modified xsi:type="dcterms:W3CDTF">2020-12-20T10:1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